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72" r:id="rId4"/>
    <p:sldMasterId id="2147484602" r:id="rId5"/>
    <p:sldMasterId id="2147484623" r:id="rId6"/>
  </p:sldMasterIdLst>
  <p:notesMasterIdLst>
    <p:notesMasterId r:id="rId10"/>
  </p:notesMasterIdLst>
  <p:sldIdLst>
    <p:sldId id="6265" r:id="rId7"/>
    <p:sldId id="6266" r:id="rId8"/>
    <p:sldId id="6267" r:id="rId9"/>
  </p:sldIdLst>
  <p:sldSz cx="12192000" cy="6858000"/>
  <p:notesSz cx="6810375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ехническая часть" id="{336620B2-296D-438F-B9F3-89DBAC8B7B04}">
          <p14:sldIdLst>
            <p14:sldId id="6265"/>
            <p14:sldId id="6266"/>
            <p14:sldId id="6267"/>
          </p14:sldIdLst>
        </p14:section>
        <p14:section name="Презентация материала" id="{147C04E3-A43A-4CBE-896E-5C05259C39D1}">
          <p14:sldIdLst/>
        </p14:section>
        <p14:section name="Бэкап" id="{4D8ED42B-0FF7-4753-A57F-F41F0D85A26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orient="horz" pos="595" userDrawn="1">
          <p15:clr>
            <a:srgbClr val="A4A3A4"/>
          </p15:clr>
        </p15:guide>
        <p15:guide id="3" orient="horz" pos="1434" userDrawn="1">
          <p15:clr>
            <a:srgbClr val="A4A3A4"/>
          </p15:clr>
        </p15:guide>
        <p15:guide id="4" orient="horz" pos="2863" userDrawn="1">
          <p15:clr>
            <a:srgbClr val="A4A3A4"/>
          </p15:clr>
        </p15:guide>
        <p15:guide id="6" orient="horz" pos="731" userDrawn="1">
          <p15:clr>
            <a:srgbClr val="A4A3A4"/>
          </p15:clr>
        </p15:guide>
        <p15:guide id="7" orient="horz" pos="3725" userDrawn="1">
          <p15:clr>
            <a:srgbClr val="A4A3A4"/>
          </p15:clr>
        </p15:guide>
        <p15:guide id="8" pos="4158" userDrawn="1">
          <p15:clr>
            <a:srgbClr val="A4A3A4"/>
          </p15:clr>
        </p15:guide>
        <p15:guide id="9" pos="393" userDrawn="1">
          <p15:clr>
            <a:srgbClr val="A4A3A4"/>
          </p15:clr>
        </p15:guide>
        <p15:guide id="10" pos="506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6AD043-3264-B6BF-0837-6A7AF79258B7}" name="Ольга Александровна Базылева" initials="ОБ" userId="S::o.bazyleva@bitobe.ru::83d18493-c0fb-40f8-97e9-0a3fd8843e0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3ECF7"/>
    <a:srgbClr val="A6A6A6"/>
    <a:srgbClr val="F2F2F2"/>
    <a:srgbClr val="F1F5FB"/>
    <a:srgbClr val="E6E6E6"/>
    <a:srgbClr val="003C65"/>
    <a:srgbClr val="FF6D6D"/>
    <a:srgbClr val="07296E"/>
    <a:srgbClr val="E7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B954B0-E008-4F13-8B62-AC23A08726B6}" v="171" dt="2023-03-21T17:24:53.5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714" y="102"/>
      </p:cViewPr>
      <p:guideLst>
        <p:guide orient="horz" pos="3838"/>
        <p:guide orient="horz" pos="595"/>
        <p:guide orient="horz" pos="1434"/>
        <p:guide orient="horz" pos="2863"/>
        <p:guide orient="horz" pos="731"/>
        <p:guide orient="horz" pos="3725"/>
        <p:guide pos="4158"/>
        <p:guide pos="393"/>
        <p:guide pos="50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79F2C1-CE86-4BE7-B235-E07F38A6E5C1}" type="datetimeFigureOut">
              <a:rPr lang="ru-RU" smtClean="0"/>
              <a:t>24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84835"/>
            <a:ext cx="544830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2FBC26-F407-4838-B0BB-82892B6FABF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1670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,Sans-Serif"/>
              <a:buChar char="•"/>
            </a:pPr>
            <a:r>
              <a:rPr lang="ru-RU" err="1"/>
              <a:t>Introduction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Features</a:t>
            </a:r>
            <a:r>
              <a:rPr lang="ru-RU"/>
              <a:t> &amp; </a:t>
            </a:r>
            <a:r>
              <a:rPr lang="ru-RU" err="1"/>
              <a:t>benefit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Primary</a:t>
            </a:r>
            <a:r>
              <a:rPr lang="ru-RU"/>
              <a:t> </a:t>
            </a:r>
            <a:r>
              <a:rPr lang="ru-RU" err="1"/>
              <a:t>scales</a:t>
            </a:r>
            <a:r>
              <a:rPr lang="ru-RU"/>
              <a:t> &amp; </a:t>
            </a:r>
            <a:r>
              <a:rPr lang="ru-RU" err="1"/>
              <a:t>interpretation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Occupational</a:t>
            </a:r>
            <a:r>
              <a:rPr lang="ru-RU"/>
              <a:t> </a:t>
            </a:r>
            <a:r>
              <a:rPr lang="ru-RU" err="1"/>
              <a:t>scale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Technical</a:t>
            </a:r>
            <a:r>
              <a:rPr lang="ru-RU"/>
              <a:t> </a:t>
            </a:r>
            <a:r>
              <a:rPr lang="ru-RU" err="1"/>
              <a:t>fact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Reports</a:t>
            </a:r>
            <a:r>
              <a:rPr lang="ru-RU"/>
              <a:t> &amp; </a:t>
            </a:r>
            <a:r>
              <a:rPr lang="ru-RU" err="1"/>
              <a:t>application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/>
              <a:t>Administration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Ordering</a:t>
            </a:r>
            <a:r>
              <a:rPr lang="ru-RU"/>
              <a:t> </a:t>
            </a:r>
            <a:r>
              <a:rPr lang="ru-RU" err="1"/>
              <a:t>information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F6B86-DF17-4B0A-954F-EEC54B0283B6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23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,Sans-Serif"/>
              <a:buChar char="•"/>
            </a:pPr>
            <a:r>
              <a:rPr lang="ru-RU" err="1"/>
              <a:t>Introduction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Features</a:t>
            </a:r>
            <a:r>
              <a:rPr lang="ru-RU"/>
              <a:t> &amp; </a:t>
            </a:r>
            <a:r>
              <a:rPr lang="ru-RU" err="1"/>
              <a:t>benefit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Primary</a:t>
            </a:r>
            <a:r>
              <a:rPr lang="ru-RU"/>
              <a:t> </a:t>
            </a:r>
            <a:r>
              <a:rPr lang="ru-RU" err="1"/>
              <a:t>scales</a:t>
            </a:r>
            <a:r>
              <a:rPr lang="ru-RU"/>
              <a:t> &amp; </a:t>
            </a:r>
            <a:r>
              <a:rPr lang="ru-RU" err="1"/>
              <a:t>interpretation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Occupational</a:t>
            </a:r>
            <a:r>
              <a:rPr lang="ru-RU"/>
              <a:t> </a:t>
            </a:r>
            <a:r>
              <a:rPr lang="ru-RU" err="1"/>
              <a:t>scale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Technical</a:t>
            </a:r>
            <a:r>
              <a:rPr lang="ru-RU"/>
              <a:t> </a:t>
            </a:r>
            <a:r>
              <a:rPr lang="ru-RU" err="1"/>
              <a:t>fact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Reports</a:t>
            </a:r>
            <a:r>
              <a:rPr lang="ru-RU"/>
              <a:t> &amp; </a:t>
            </a:r>
            <a:r>
              <a:rPr lang="ru-RU" err="1"/>
              <a:t>application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/>
              <a:t>Administration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Ordering</a:t>
            </a:r>
            <a:r>
              <a:rPr lang="ru-RU"/>
              <a:t> </a:t>
            </a:r>
            <a:r>
              <a:rPr lang="ru-RU" err="1"/>
              <a:t>information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F6B86-DF17-4B0A-954F-EEC54B0283B6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44263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,Sans-Serif"/>
              <a:buChar char="•"/>
            </a:pPr>
            <a:r>
              <a:rPr lang="ru-RU" err="1"/>
              <a:t>Introduction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Features</a:t>
            </a:r>
            <a:r>
              <a:rPr lang="ru-RU"/>
              <a:t> &amp; </a:t>
            </a:r>
            <a:r>
              <a:rPr lang="ru-RU" err="1"/>
              <a:t>benefit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Primary</a:t>
            </a:r>
            <a:r>
              <a:rPr lang="ru-RU"/>
              <a:t> </a:t>
            </a:r>
            <a:r>
              <a:rPr lang="ru-RU" err="1"/>
              <a:t>scales</a:t>
            </a:r>
            <a:r>
              <a:rPr lang="ru-RU"/>
              <a:t> &amp; </a:t>
            </a:r>
            <a:r>
              <a:rPr lang="ru-RU" err="1"/>
              <a:t>interpretation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Occupational</a:t>
            </a:r>
            <a:r>
              <a:rPr lang="ru-RU"/>
              <a:t> </a:t>
            </a:r>
            <a:r>
              <a:rPr lang="ru-RU" err="1"/>
              <a:t>scale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Technical</a:t>
            </a:r>
            <a:r>
              <a:rPr lang="ru-RU"/>
              <a:t> </a:t>
            </a:r>
            <a:r>
              <a:rPr lang="ru-RU" err="1"/>
              <a:t>fact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Reports</a:t>
            </a:r>
            <a:r>
              <a:rPr lang="ru-RU"/>
              <a:t> &amp; </a:t>
            </a:r>
            <a:r>
              <a:rPr lang="ru-RU" err="1"/>
              <a:t>applications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/>
              <a:t>Administration</a:t>
            </a:r>
            <a:endParaRPr lang="en-US"/>
          </a:p>
          <a:p>
            <a:pPr marL="285750" indent="-285750">
              <a:buFont typeface="Arial,Sans-Serif"/>
              <a:buChar char="•"/>
            </a:pPr>
            <a:r>
              <a:rPr lang="ru-RU" err="1"/>
              <a:t>Ordering</a:t>
            </a:r>
            <a:r>
              <a:rPr lang="ru-RU"/>
              <a:t> </a:t>
            </a:r>
            <a:r>
              <a:rPr lang="ru-RU" err="1"/>
              <a:t>information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F6B86-DF17-4B0A-954F-EEC54B0283B6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350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microsoft.com/office/2007/relationships/hdphoto" Target="../media/hdphoto3.wdp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5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microsoft.com/office/2007/relationships/hdphoto" Target="../media/hdphoto3.wdp"/><Relationship Id="rId4" Type="http://schemas.openxmlformats.org/officeDocument/2006/relationships/image" Target="../media/image14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9.bin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Изображение выглядит как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B6FD1E12-CFBA-41B1-B78C-9A51F170584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861"/>
            <a:ext cx="12192000" cy="6883861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/>
        </p:nvSpPr>
        <p:spPr>
          <a:xfrm rot="10800000" flipH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41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4" name="Заголовок 6">
            <a:extLst>
              <a:ext uri="{FF2B5EF4-FFF2-40B4-BE49-F238E27FC236}">
                <a16:creationId xmlns:a16="http://schemas.microsoft.com/office/drawing/2014/main" id="{4C4B5BD4-31A6-4920-8F19-605A3B8FC52E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/>
        </p:nvSpPr>
        <p:spPr>
          <a:xfrm>
            <a:off x="4939284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D0B8B00-2998-4932-8CA9-C74A610A364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430" y="476250"/>
            <a:ext cx="1235743" cy="394538"/>
          </a:xfrm>
          <a:prstGeom prst="rect">
            <a:avLst/>
          </a:prstGeom>
        </p:spPr>
      </p:pic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095257C-24AB-4BAC-BCFF-6625E4200E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8422" y="4676394"/>
            <a:ext cx="3609703" cy="10517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bg1"/>
                </a:solidFill>
                <a:latin typeface="+mn-lt"/>
                <a:ea typeface="Roboto Light" panose="02000000000000000000" pitchFamily="2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Подзаголовок</a:t>
            </a:r>
          </a:p>
        </p:txBody>
      </p:sp>
      <p:sp>
        <p:nvSpPr>
          <p:cNvPr id="29" name="Текст 31">
            <a:extLst>
              <a:ext uri="{FF2B5EF4-FFF2-40B4-BE49-F238E27FC236}">
                <a16:creationId xmlns:a16="http://schemas.microsoft.com/office/drawing/2014/main" id="{2163AA49-F29C-4B23-805B-C4BBFA1114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8422" y="5924363"/>
            <a:ext cx="3609703" cy="2343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Подготовлено для</a:t>
            </a:r>
          </a:p>
        </p:txBody>
      </p:sp>
      <p:sp>
        <p:nvSpPr>
          <p:cNvPr id="30" name="Текст 31">
            <a:extLst>
              <a:ext uri="{FF2B5EF4-FFF2-40B4-BE49-F238E27FC236}">
                <a16:creationId xmlns:a16="http://schemas.microsoft.com/office/drawing/2014/main" id="{D75E8106-A6DA-43E7-8676-6FB1D02FAB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8422" y="6193304"/>
            <a:ext cx="3609703" cy="23439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Дата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422" y="2263777"/>
            <a:ext cx="3609703" cy="2181606"/>
          </a:xfrm>
          <a:prstGeom prst="rect">
            <a:avLst/>
          </a:prstGeom>
        </p:spPr>
        <p:txBody>
          <a:bodyPr anchor="b"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98331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6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5938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86409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468BD0BB-3AAA-4E90-9601-A4186E298C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56880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293A127-1DD5-4CB0-98C7-C2B841C4B7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156023"/>
            <a:ext cx="1041015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2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373521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700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5612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468BD0BB-3AAA-4E90-9601-A4186E298C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0050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ABC25C86-E18C-4236-8EDF-61D51F1FF43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3262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E74DCD35-5C09-4A2C-8ACA-713FF1FA49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156023"/>
            <a:ext cx="1041015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2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806929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6091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5515200" cy="22332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3243" y="1089025"/>
            <a:ext cx="5515200" cy="22332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F863D5AD-B8D1-4848-AA50-1A1F8D5640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156023"/>
            <a:ext cx="1041015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2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017015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 карточки с 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326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156023"/>
            <a:ext cx="1041015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2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551520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3243" y="1089025"/>
            <a:ext cx="551520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49318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фото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762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156023"/>
            <a:ext cx="1041015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2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19437" y="1089025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F8196BF3-5C33-43AD-8BBD-CA9EC9CD5A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19437" y="2863851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D590F98D-CD53-4C9F-A4AF-5D6D6FD5581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19437" y="4627563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3058072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и карточка с фото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510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5996A07-C12B-4E15-B0AB-6648370E6A53}"/>
              </a:ext>
            </a:extLst>
          </p:cNvPr>
          <p:cNvSpPr/>
          <p:nvPr/>
        </p:nvSpPr>
        <p:spPr>
          <a:xfrm>
            <a:off x="1168795" y="1440376"/>
            <a:ext cx="3560719" cy="3533806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0"/>
          </a:gradFill>
          <a:ln w="6350">
            <a:solidFill>
              <a:srgbClr val="72A0D5">
                <a:alpha val="99000"/>
              </a:srgb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3D424C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C0A2310-DADC-4D97-BFFD-0C7334FC3952}"/>
              </a:ext>
            </a:extLst>
          </p:cNvPr>
          <p:cNvSpPr/>
          <p:nvPr/>
        </p:nvSpPr>
        <p:spPr>
          <a:xfrm>
            <a:off x="753449" y="1917054"/>
            <a:ext cx="3503912" cy="351320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9" name="Рисунок 7">
            <a:extLst>
              <a:ext uri="{FF2B5EF4-FFF2-40B4-BE49-F238E27FC236}">
                <a16:creationId xmlns:a16="http://schemas.microsoft.com/office/drawing/2014/main" id="{29F33953-7CE5-4BB9-A26E-862828692782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762743" y="1917054"/>
            <a:ext cx="3494618" cy="350057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/>
              <a:t>Вставка рисунка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9160C1A6-8370-42D4-94B0-7CC30A94A78A}"/>
              </a:ext>
            </a:extLst>
          </p:cNvPr>
          <p:cNvCxnSpPr>
            <a:cxnSpLocks/>
            <a:stCxn id="25" idx="3"/>
          </p:cNvCxnSpPr>
          <p:nvPr/>
        </p:nvCxnSpPr>
        <p:spPr>
          <a:xfrm>
            <a:off x="6131216" y="2025419"/>
            <a:ext cx="5306281" cy="1052"/>
          </a:xfrm>
          <a:prstGeom prst="line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0"/>
          </a:gradFill>
          <a:ln w="6350">
            <a:solidFill>
              <a:schemeClr val="bg1">
                <a:lumMod val="85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</p:cxn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F15CB9D-65C9-47C6-ACCB-8C0FD6EA264B}"/>
              </a:ext>
            </a:extLst>
          </p:cNvPr>
          <p:cNvSpPr/>
          <p:nvPr/>
        </p:nvSpPr>
        <p:spPr>
          <a:xfrm>
            <a:off x="5374009" y="1989419"/>
            <a:ext cx="757207" cy="72000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0"/>
          </a:gradFill>
          <a:ln w="6350">
            <a:noFill/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kern="0">
              <a:solidFill>
                <a:srgbClr val="3D424C"/>
              </a:solidFill>
              <a:latin typeface="Segoe UI Semibold"/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503C2A6F-9625-4D4B-9203-EF5187D0D3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4009" y="1454814"/>
            <a:ext cx="6055247" cy="534605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lang="ru-RU" sz="2000" b="0" kern="1200" dirty="0">
                <a:solidFill>
                  <a:srgbClr val="002266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/>
              <a:t>Вступительное слово</a:t>
            </a:r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147FCF33-A46A-4F1F-9C3F-5A984BCEEA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4010" y="2303232"/>
            <a:ext cx="6055246" cy="467293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ru-RU" sz="4000" b="0" i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ФАМИЛИЯ </a:t>
            </a:r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35BB6424-01A1-4A67-8617-C99007F2E3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74010" y="2876670"/>
            <a:ext cx="6055246" cy="467293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ru-RU" sz="3600" b="0" i="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Имя Отчество</a:t>
            </a:r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id="{4F808DF1-4060-4217-B194-BBA25D8035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74010" y="3663832"/>
            <a:ext cx="6055246" cy="83067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defRPr lang="ru-RU" sz="1800" b="0" i="0" kern="1200" dirty="0"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Должность</a:t>
            </a:r>
            <a:br>
              <a:rPr lang="ru-RU"/>
            </a:br>
            <a:r>
              <a:rPr lang="ru-RU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990719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1319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135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!1_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084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</p:spTree>
    <p:extLst>
      <p:ext uri="{BB962C8B-B14F-4D97-AF65-F5344CB8AC3E}">
        <p14:creationId xmlns:p14="http://schemas.microsoft.com/office/powerpoint/2010/main" val="1516609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!1_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689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341593"/>
            <a:ext cx="573246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pic>
        <p:nvPicPr>
          <p:cNvPr id="6" name="Рисунок 5" descr="Изображение выглядит как текст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89A18B22-2BA4-4617-9FC8-0B949D018E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36" r="22136"/>
          <a:stretch>
            <a:fillRect/>
          </a:stretch>
        </p:blipFill>
        <p:spPr>
          <a:xfrm>
            <a:off x="6459538" y="0"/>
            <a:ext cx="5732462" cy="6864350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814240"/>
              <a:gd name="connsiteY0" fmla="*/ 12829 h 5785850"/>
              <a:gd name="connsiteX1" fmla="*/ 5202760 w 5814240"/>
              <a:gd name="connsiteY1" fmla="*/ 0 h 5785850"/>
              <a:gd name="connsiteX2" fmla="*/ 5814240 w 5814240"/>
              <a:gd name="connsiteY2" fmla="*/ 5785848 h 5785850"/>
              <a:gd name="connsiteX3" fmla="*/ 0 w 5814240"/>
              <a:gd name="connsiteY3" fmla="*/ 5785850 h 5785850"/>
              <a:gd name="connsiteX4" fmla="*/ 1033285 w 5814240"/>
              <a:gd name="connsiteY4" fmla="*/ 12829 h 5785850"/>
              <a:gd name="connsiteX0" fmla="*/ 1033285 w 5814240"/>
              <a:gd name="connsiteY0" fmla="*/ 0 h 5773021"/>
              <a:gd name="connsiteX1" fmla="*/ 5352746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4879713 w 5352746"/>
              <a:gd name="connsiteY2" fmla="*/ 5567756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5341208 w 5352746"/>
              <a:gd name="connsiteY2" fmla="*/ 5773019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41208"/>
              <a:gd name="connsiteY0" fmla="*/ 0 h 5773021"/>
              <a:gd name="connsiteX1" fmla="*/ 5288137 w 5341208"/>
              <a:gd name="connsiteY1" fmla="*/ 107763 h 5773021"/>
              <a:gd name="connsiteX2" fmla="*/ 5341208 w 5341208"/>
              <a:gd name="connsiteY2" fmla="*/ 5773019 h 5773021"/>
              <a:gd name="connsiteX3" fmla="*/ 0 w 5341208"/>
              <a:gd name="connsiteY3" fmla="*/ 5773021 h 5773021"/>
              <a:gd name="connsiteX4" fmla="*/ 1033285 w 5341208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341208 w 5343516"/>
              <a:gd name="connsiteY2" fmla="*/ 5773019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290444 w 5343516"/>
              <a:gd name="connsiteY2" fmla="*/ 5701177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5925"/>
              <a:gd name="connsiteY0" fmla="*/ 0 h 5778151"/>
              <a:gd name="connsiteX1" fmla="*/ 5343516 w 5345925"/>
              <a:gd name="connsiteY1" fmla="*/ 0 h 5778151"/>
              <a:gd name="connsiteX2" fmla="*/ 5345823 w 5345925"/>
              <a:gd name="connsiteY2" fmla="*/ 5778151 h 5778151"/>
              <a:gd name="connsiteX3" fmla="*/ 0 w 5345925"/>
              <a:gd name="connsiteY3" fmla="*/ 5773021 h 5778151"/>
              <a:gd name="connsiteX4" fmla="*/ 1033285 w 5345925"/>
              <a:gd name="connsiteY4" fmla="*/ 0 h 5778151"/>
              <a:gd name="connsiteX0" fmla="*/ 26970 w 4339610"/>
              <a:gd name="connsiteY0" fmla="*/ 0 h 5778151"/>
              <a:gd name="connsiteX1" fmla="*/ 4337201 w 4339610"/>
              <a:gd name="connsiteY1" fmla="*/ 0 h 5778151"/>
              <a:gd name="connsiteX2" fmla="*/ 4339508 w 4339610"/>
              <a:gd name="connsiteY2" fmla="*/ 5778151 h 5778151"/>
              <a:gd name="connsiteX3" fmla="*/ 0 w 4339610"/>
              <a:gd name="connsiteY3" fmla="*/ 5758767 h 5778151"/>
              <a:gd name="connsiteX4" fmla="*/ 26970 w 4339610"/>
              <a:gd name="connsiteY4" fmla="*/ 0 h 5778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9610" h="5778151">
                <a:moveTo>
                  <a:pt x="26970" y="0"/>
                </a:moveTo>
                <a:lnTo>
                  <a:pt x="4337201" y="0"/>
                </a:lnTo>
                <a:cubicBezTo>
                  <a:pt x="4336432" y="1924340"/>
                  <a:pt x="4340277" y="3853811"/>
                  <a:pt x="4339508" y="5778151"/>
                </a:cubicBezTo>
                <a:lnTo>
                  <a:pt x="0" y="5758767"/>
                </a:lnTo>
                <a:lnTo>
                  <a:pt x="26970" y="0"/>
                </a:lnTo>
                <a:close/>
              </a:path>
            </a:pathLst>
          </a:cu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0B0502E-1044-42A7-9764-3EE8B142247B}"/>
              </a:ext>
            </a:extLst>
          </p:cNvPr>
          <p:cNvSpPr/>
          <p:nvPr/>
        </p:nvSpPr>
        <p:spPr>
          <a:xfrm>
            <a:off x="10406092" y="0"/>
            <a:ext cx="1432266" cy="685800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4000"/>
                </a:schemeClr>
              </a:gs>
              <a:gs pos="59000">
                <a:schemeClr val="bg1">
                  <a:alpha val="0"/>
                </a:schemeClr>
              </a:gs>
            </a:gsLst>
            <a:lin ang="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20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9F6B548-2C3C-4720-AE11-87FCB38EF24C}"/>
              </a:ext>
            </a:extLst>
          </p:cNvPr>
          <p:cNvSpPr/>
          <p:nvPr/>
        </p:nvSpPr>
        <p:spPr>
          <a:xfrm>
            <a:off x="10657889" y="0"/>
            <a:ext cx="251839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4000"/>
                </a:schemeClr>
              </a:gs>
              <a:gs pos="59000">
                <a:schemeClr val="bg1">
                  <a:alpha val="0"/>
                </a:schemeClr>
              </a:gs>
            </a:gsLst>
            <a:lin ang="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20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13C624EC-82AD-48E7-9A36-C7A086AEC455}"/>
              </a:ext>
            </a:extLst>
          </p:cNvPr>
          <p:cNvSpPr/>
          <p:nvPr/>
        </p:nvSpPr>
        <p:spPr>
          <a:xfrm>
            <a:off x="6732800" y="0"/>
            <a:ext cx="2372479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45000"/>
                </a:schemeClr>
              </a:gs>
              <a:gs pos="59000">
                <a:schemeClr val="bg1">
                  <a:alpha val="0"/>
                </a:schemeClr>
              </a:gs>
            </a:gsLst>
            <a:lin ang="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200" err="1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492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Заголовок в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02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0A384496-76C1-412F-A8E2-3614FD633A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122F1DB-E87A-4DEB-9AA6-F52DF98F2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869690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</a:t>
            </a:r>
            <a:br>
              <a:rPr lang="en-US"/>
            </a:br>
            <a:r>
              <a:rPr lang="ru-RU"/>
              <a:t>в </a:t>
            </a:r>
            <a:r>
              <a:rPr lang="en-US"/>
              <a:t>2</a:t>
            </a:r>
            <a:r>
              <a:rPr lang="ru-RU"/>
              <a:t> строку</a:t>
            </a:r>
          </a:p>
        </p:txBody>
      </p:sp>
    </p:spTree>
    <p:extLst>
      <p:ext uri="{BB962C8B-B14F-4D97-AF65-F5344CB8AC3E}">
        <p14:creationId xmlns:p14="http://schemas.microsoft.com/office/powerpoint/2010/main" val="345553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Изображение выглядит как человек, внутренний, люди, группа&#10;&#10;Автоматически созданное описание">
            <a:extLst>
              <a:ext uri="{FF2B5EF4-FFF2-40B4-BE49-F238E27FC236}">
                <a16:creationId xmlns:a16="http://schemas.microsoft.com/office/drawing/2014/main" id="{CCF7037E-4589-420C-ACC6-854149D92F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3861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F9145D6-6C18-434F-8423-ADB83C4E92D9}"/>
              </a:ext>
            </a:extLst>
          </p:cNvPr>
          <p:cNvSpPr/>
          <p:nvPr/>
        </p:nvSpPr>
        <p:spPr>
          <a:xfrm>
            <a:off x="0" y="-19050"/>
            <a:ext cx="12192000" cy="6883861"/>
          </a:xfrm>
          <a:prstGeom prst="rect">
            <a:avLst/>
          </a:prstGeom>
          <a:gradFill>
            <a:gsLst>
              <a:gs pos="0">
                <a:schemeClr val="accent1">
                  <a:alpha val="33000"/>
                </a:schemeClr>
              </a:gs>
              <a:gs pos="100000">
                <a:schemeClr val="accent1">
                  <a:alpha val="3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/>
        </p:nvSpPr>
        <p:spPr>
          <a:xfrm rot="10800000" flipH="1">
            <a:off x="515938" y="-1"/>
            <a:ext cx="4676548" cy="6893625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4" name="Заголовок 6">
            <a:extLst>
              <a:ext uri="{FF2B5EF4-FFF2-40B4-BE49-F238E27FC236}">
                <a16:creationId xmlns:a16="http://schemas.microsoft.com/office/drawing/2014/main" id="{4C4B5BD4-31A6-4920-8F19-605A3B8FC52E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/>
        </p:nvSpPr>
        <p:spPr>
          <a:xfrm>
            <a:off x="4939284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D0B8B00-2998-4932-8CA9-C74A610A364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430" y="476250"/>
            <a:ext cx="1235743" cy="394538"/>
          </a:xfrm>
          <a:prstGeom prst="rect">
            <a:avLst/>
          </a:prstGeom>
        </p:spPr>
      </p:pic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095257C-24AB-4BAC-BCFF-6625E4200E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8422" y="4676394"/>
            <a:ext cx="3609703" cy="10517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bg1"/>
                </a:solidFill>
                <a:latin typeface="+mn-lt"/>
                <a:ea typeface="Roboto Light" panose="02000000000000000000" pitchFamily="2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Подзаголовок</a:t>
            </a:r>
          </a:p>
        </p:txBody>
      </p:sp>
      <p:sp>
        <p:nvSpPr>
          <p:cNvPr id="29" name="Текст 31">
            <a:extLst>
              <a:ext uri="{FF2B5EF4-FFF2-40B4-BE49-F238E27FC236}">
                <a16:creationId xmlns:a16="http://schemas.microsoft.com/office/drawing/2014/main" id="{2163AA49-F29C-4B23-805B-C4BBFA1114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8422" y="5924363"/>
            <a:ext cx="3609703" cy="2343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Подготовлено для</a:t>
            </a:r>
          </a:p>
        </p:txBody>
      </p:sp>
      <p:sp>
        <p:nvSpPr>
          <p:cNvPr id="30" name="Текст 31">
            <a:extLst>
              <a:ext uri="{FF2B5EF4-FFF2-40B4-BE49-F238E27FC236}">
                <a16:creationId xmlns:a16="http://schemas.microsoft.com/office/drawing/2014/main" id="{D75E8106-A6DA-43E7-8676-6FB1D02FAB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8422" y="6193304"/>
            <a:ext cx="3609703" cy="23439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Дата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422" y="2263777"/>
            <a:ext cx="3609703" cy="2181606"/>
          </a:xfrm>
          <a:prstGeom prst="rect">
            <a:avLst/>
          </a:prstGeom>
        </p:spPr>
        <p:txBody>
          <a:bodyPr anchor="b"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90323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34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4" name="Рисунок 2">
            <a:extLst>
              <a:ext uri="{FF2B5EF4-FFF2-40B4-BE49-F238E27FC236}">
                <a16:creationId xmlns:a16="http://schemas.microsoft.com/office/drawing/2014/main" id="{57886857-535D-4420-A6B6-EDBB0B70058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5938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5" name="Рисунок 2">
            <a:extLst>
              <a:ext uri="{FF2B5EF4-FFF2-40B4-BE49-F238E27FC236}">
                <a16:creationId xmlns:a16="http://schemas.microsoft.com/office/drawing/2014/main" id="{1C599428-3D74-450F-B81F-31F71DA855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86409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198E06C4-7793-4291-B77A-A146441FA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56880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AFEE30A-581D-4BDA-8728-DEAB49182F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308502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12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5938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86409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468BD0BB-3AAA-4E90-9601-A4186E298C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56880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7119BED-B472-48DE-8DD0-E67A60DD46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157350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89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5612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468BD0BB-3AAA-4E90-9601-A4186E298C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0050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ABC25C86-E18C-4236-8EDF-61D51F1FF43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3262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6531D37-2EC3-4A2B-9B24-E767F7341F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593480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805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5515200" cy="22332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3243" y="1089025"/>
            <a:ext cx="5515200" cy="22332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363E642-A780-4178-8E86-621F3513F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497541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 карточки с 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916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551520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3243" y="1089025"/>
            <a:ext cx="551520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C58B4AC-844F-41B1-8BC7-7A74FA871E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72334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фото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4059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19437" y="1089025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F8196BF3-5C33-43AD-8BBD-CA9EC9CD5A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19437" y="2863851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D590F98D-CD53-4C9F-A4AF-5D6D6FD5581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19437" y="4627563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4092F547-5F88-4410-9715-DDF718C296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956370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и карточка с фото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250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10613" y="1394009"/>
            <a:ext cx="2965450" cy="230010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D612462-A5BB-4EDA-9156-8F4374C10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421304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очки с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A8D8CCBB-60F1-421E-BD7C-5B2872A3F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437938"/>
            <a:ext cx="509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707E783E-0E87-434B-ABCE-8E905EF9C21D}" type="slidenum">
              <a:rPr lang="ru-RU" smtClean="0"/>
              <a:t>‹#›</a:t>
            </a:fld>
            <a:endParaRPr lang="ru-RU"/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DE046B16-23DE-48F1-8DB4-4EB4DCFE5D4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45154" y="1233487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id="{D42141B5-D535-4BEE-B807-BA896F7C96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145154" y="296444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1" name="Рисунок 2">
            <a:extLst>
              <a:ext uri="{FF2B5EF4-FFF2-40B4-BE49-F238E27FC236}">
                <a16:creationId xmlns:a16="http://schemas.microsoft.com/office/drawing/2014/main" id="{588E98E2-34ED-488A-891F-FD9535AE217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5154" y="469362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337AC333-9995-412B-A338-4739B48C0E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F898D5B-9D38-4A7C-972F-EEF186925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920908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лайд с командо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AD355A58-514E-4978-8453-BB5FA1302A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02674" y="4418425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8A54D4FE-3909-44D6-B21E-5A1A44788D7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2511" y="441842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8" name="Рисунок 27">
            <a:extLst>
              <a:ext uri="{FF2B5EF4-FFF2-40B4-BE49-F238E27FC236}">
                <a16:creationId xmlns:a16="http://schemas.microsoft.com/office/drawing/2014/main" id="{B36651C3-541C-4735-A3DC-CDBD0D265B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46" y="441842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0CBCDCDC-3CE1-4134-A054-E597A48D59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02673" y="2024606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99C11288-1DEE-4F48-9319-F37B278E26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22510" y="202460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id="{CA017888-274F-43BC-88DF-38CCEC236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2347" y="202460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A8D8CCBB-60F1-421E-BD7C-5B2872A3F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437938"/>
            <a:ext cx="509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707E783E-0E87-434B-ABCE-8E905EF9C21D}" type="slidenum">
              <a:rPr lang="ru-RU" smtClean="0"/>
              <a:t>‹#›</a:t>
            </a:fld>
            <a:endParaRPr lang="ru-RU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740907DF-C9ED-4D75-98CF-8E77435FB8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22750329-5807-40CF-9A9F-B784D0855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5706740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9799127-183C-4A66-B5A8-474F44D7CD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5934" y="1685925"/>
            <a:ext cx="5418000" cy="304613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26F0704-14DE-4148-815F-6C7B8F82420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58063" y="1685925"/>
            <a:ext cx="5418000" cy="304613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833EE-FAC3-45BC-97A0-80DD06CC1DA0}"/>
              </a:ext>
            </a:extLst>
          </p:cNvPr>
          <p:cNvSpPr/>
          <p:nvPr/>
        </p:nvSpPr>
        <p:spPr>
          <a:xfrm>
            <a:off x="515934" y="1520825"/>
            <a:ext cx="5418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  <a:tileRect/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C3D705-1135-4844-A2AF-EF8717B16651}"/>
              </a:ext>
            </a:extLst>
          </p:cNvPr>
          <p:cNvSpPr/>
          <p:nvPr/>
        </p:nvSpPr>
        <p:spPr>
          <a:xfrm>
            <a:off x="6259509" y="1520825"/>
            <a:ext cx="5418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  <a:tileRect/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35F986C-D6E2-4713-A778-408284BE149D}"/>
              </a:ext>
            </a:extLst>
          </p:cNvPr>
          <p:cNvGrpSpPr/>
          <p:nvPr/>
        </p:nvGrpSpPr>
        <p:grpSpPr>
          <a:xfrm rot="2700000">
            <a:off x="5751768" y="1543844"/>
            <a:ext cx="119062" cy="119062"/>
            <a:chOff x="5961318" y="1004888"/>
            <a:chExt cx="119062" cy="11906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2D2A80F-E12D-4FC0-881C-9C1A8BF63AF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55DABE9-94CE-4ED7-B69D-F98AE2C989D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62559E5-FFFE-4580-A667-74212DB6FD98}"/>
              </a:ext>
            </a:extLst>
          </p:cNvPr>
          <p:cNvGrpSpPr/>
          <p:nvPr/>
        </p:nvGrpSpPr>
        <p:grpSpPr>
          <a:xfrm rot="2700000">
            <a:off x="11492451" y="1543844"/>
            <a:ext cx="119062" cy="119062"/>
            <a:chOff x="5961318" y="1004888"/>
            <a:chExt cx="119062" cy="119062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BE9FC5B-CD7D-4FFA-93B5-AD047FFE1DAB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E478BE2-89BE-4F3B-A3F0-6761DCF8B8F0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Текст 2">
            <a:extLst>
              <a:ext uri="{FF2B5EF4-FFF2-40B4-BE49-F238E27FC236}">
                <a16:creationId xmlns:a16="http://schemas.microsoft.com/office/drawing/2014/main" id="{9D7D54F7-A8A5-44F6-9DC8-DE4B5D91CF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9FCE0368-D935-4C67-B863-16B8E2C3A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770427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Изображение выглядит как текст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D616E835-77B4-49F9-AC86-0806C1B656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" r="22136"/>
          <a:stretch/>
        </p:blipFill>
        <p:spPr>
          <a:xfrm>
            <a:off x="0" y="11875"/>
            <a:ext cx="8005133" cy="6858000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814240"/>
              <a:gd name="connsiteY0" fmla="*/ 12829 h 5785850"/>
              <a:gd name="connsiteX1" fmla="*/ 5202760 w 5814240"/>
              <a:gd name="connsiteY1" fmla="*/ 0 h 5785850"/>
              <a:gd name="connsiteX2" fmla="*/ 5814240 w 5814240"/>
              <a:gd name="connsiteY2" fmla="*/ 5785848 h 5785850"/>
              <a:gd name="connsiteX3" fmla="*/ 0 w 5814240"/>
              <a:gd name="connsiteY3" fmla="*/ 5785850 h 5785850"/>
              <a:gd name="connsiteX4" fmla="*/ 1033285 w 5814240"/>
              <a:gd name="connsiteY4" fmla="*/ 12829 h 5785850"/>
              <a:gd name="connsiteX0" fmla="*/ 1033285 w 5814240"/>
              <a:gd name="connsiteY0" fmla="*/ 0 h 5773021"/>
              <a:gd name="connsiteX1" fmla="*/ 5352746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4879713 w 5352746"/>
              <a:gd name="connsiteY2" fmla="*/ 5567756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5341208 w 5352746"/>
              <a:gd name="connsiteY2" fmla="*/ 5773019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41208"/>
              <a:gd name="connsiteY0" fmla="*/ 0 h 5773021"/>
              <a:gd name="connsiteX1" fmla="*/ 5288137 w 5341208"/>
              <a:gd name="connsiteY1" fmla="*/ 107763 h 5773021"/>
              <a:gd name="connsiteX2" fmla="*/ 5341208 w 5341208"/>
              <a:gd name="connsiteY2" fmla="*/ 5773019 h 5773021"/>
              <a:gd name="connsiteX3" fmla="*/ 0 w 5341208"/>
              <a:gd name="connsiteY3" fmla="*/ 5773021 h 5773021"/>
              <a:gd name="connsiteX4" fmla="*/ 1033285 w 5341208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341208 w 5343516"/>
              <a:gd name="connsiteY2" fmla="*/ 5773019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290444 w 5343516"/>
              <a:gd name="connsiteY2" fmla="*/ 5701177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5925"/>
              <a:gd name="connsiteY0" fmla="*/ 0 h 5778151"/>
              <a:gd name="connsiteX1" fmla="*/ 5343516 w 5345925"/>
              <a:gd name="connsiteY1" fmla="*/ 0 h 5778151"/>
              <a:gd name="connsiteX2" fmla="*/ 5345823 w 5345925"/>
              <a:gd name="connsiteY2" fmla="*/ 5778151 h 5778151"/>
              <a:gd name="connsiteX3" fmla="*/ 0 w 5345925"/>
              <a:gd name="connsiteY3" fmla="*/ 5773021 h 5778151"/>
              <a:gd name="connsiteX4" fmla="*/ 1033285 w 5345925"/>
              <a:gd name="connsiteY4" fmla="*/ 0 h 5778151"/>
              <a:gd name="connsiteX0" fmla="*/ 26970 w 4339610"/>
              <a:gd name="connsiteY0" fmla="*/ 0 h 5778151"/>
              <a:gd name="connsiteX1" fmla="*/ 4337201 w 4339610"/>
              <a:gd name="connsiteY1" fmla="*/ 0 h 5778151"/>
              <a:gd name="connsiteX2" fmla="*/ 4339508 w 4339610"/>
              <a:gd name="connsiteY2" fmla="*/ 5778151 h 5778151"/>
              <a:gd name="connsiteX3" fmla="*/ 0 w 4339610"/>
              <a:gd name="connsiteY3" fmla="*/ 5758767 h 5778151"/>
              <a:gd name="connsiteX4" fmla="*/ 26970 w 4339610"/>
              <a:gd name="connsiteY4" fmla="*/ 0 h 5778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9610" h="5778151">
                <a:moveTo>
                  <a:pt x="26970" y="0"/>
                </a:moveTo>
                <a:lnTo>
                  <a:pt x="4337201" y="0"/>
                </a:lnTo>
                <a:cubicBezTo>
                  <a:pt x="4336432" y="1924340"/>
                  <a:pt x="4340277" y="3853811"/>
                  <a:pt x="4339508" y="5778151"/>
                </a:cubicBezTo>
                <a:lnTo>
                  <a:pt x="0" y="5758767"/>
                </a:lnTo>
                <a:lnTo>
                  <a:pt x="26970" y="0"/>
                </a:lnTo>
                <a:close/>
              </a:path>
            </a:pathLst>
          </a:custGeom>
        </p:spPr>
      </p:pic>
      <p:pic>
        <p:nvPicPr>
          <p:cNvPr id="13" name="Рисунок 12" descr="Изображение выглядит как текст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46CD34BB-7195-4014-A089-523133FC19B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" r="22136"/>
          <a:stretch/>
        </p:blipFill>
        <p:spPr>
          <a:xfrm>
            <a:off x="4286993" y="0"/>
            <a:ext cx="7906596" cy="6864350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814240"/>
              <a:gd name="connsiteY0" fmla="*/ 12829 h 5785850"/>
              <a:gd name="connsiteX1" fmla="*/ 5202760 w 5814240"/>
              <a:gd name="connsiteY1" fmla="*/ 0 h 5785850"/>
              <a:gd name="connsiteX2" fmla="*/ 5814240 w 5814240"/>
              <a:gd name="connsiteY2" fmla="*/ 5785848 h 5785850"/>
              <a:gd name="connsiteX3" fmla="*/ 0 w 5814240"/>
              <a:gd name="connsiteY3" fmla="*/ 5785850 h 5785850"/>
              <a:gd name="connsiteX4" fmla="*/ 1033285 w 5814240"/>
              <a:gd name="connsiteY4" fmla="*/ 12829 h 5785850"/>
              <a:gd name="connsiteX0" fmla="*/ 1033285 w 5814240"/>
              <a:gd name="connsiteY0" fmla="*/ 0 h 5773021"/>
              <a:gd name="connsiteX1" fmla="*/ 5352746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4879713 w 5352746"/>
              <a:gd name="connsiteY2" fmla="*/ 5567756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5341208 w 5352746"/>
              <a:gd name="connsiteY2" fmla="*/ 5773019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41208"/>
              <a:gd name="connsiteY0" fmla="*/ 0 h 5773021"/>
              <a:gd name="connsiteX1" fmla="*/ 5288137 w 5341208"/>
              <a:gd name="connsiteY1" fmla="*/ 107763 h 5773021"/>
              <a:gd name="connsiteX2" fmla="*/ 5341208 w 5341208"/>
              <a:gd name="connsiteY2" fmla="*/ 5773019 h 5773021"/>
              <a:gd name="connsiteX3" fmla="*/ 0 w 5341208"/>
              <a:gd name="connsiteY3" fmla="*/ 5773021 h 5773021"/>
              <a:gd name="connsiteX4" fmla="*/ 1033285 w 5341208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341208 w 5343516"/>
              <a:gd name="connsiteY2" fmla="*/ 5773019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290444 w 5343516"/>
              <a:gd name="connsiteY2" fmla="*/ 5701177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5925"/>
              <a:gd name="connsiteY0" fmla="*/ 0 h 5778151"/>
              <a:gd name="connsiteX1" fmla="*/ 5343516 w 5345925"/>
              <a:gd name="connsiteY1" fmla="*/ 0 h 5778151"/>
              <a:gd name="connsiteX2" fmla="*/ 5345823 w 5345925"/>
              <a:gd name="connsiteY2" fmla="*/ 5778151 h 5778151"/>
              <a:gd name="connsiteX3" fmla="*/ 0 w 5345925"/>
              <a:gd name="connsiteY3" fmla="*/ 5773021 h 5778151"/>
              <a:gd name="connsiteX4" fmla="*/ 1033285 w 5345925"/>
              <a:gd name="connsiteY4" fmla="*/ 0 h 5778151"/>
              <a:gd name="connsiteX0" fmla="*/ 26970 w 4339610"/>
              <a:gd name="connsiteY0" fmla="*/ 0 h 5778151"/>
              <a:gd name="connsiteX1" fmla="*/ 4337201 w 4339610"/>
              <a:gd name="connsiteY1" fmla="*/ 0 h 5778151"/>
              <a:gd name="connsiteX2" fmla="*/ 4339508 w 4339610"/>
              <a:gd name="connsiteY2" fmla="*/ 5778151 h 5778151"/>
              <a:gd name="connsiteX3" fmla="*/ 0 w 4339610"/>
              <a:gd name="connsiteY3" fmla="*/ 5758767 h 5778151"/>
              <a:gd name="connsiteX4" fmla="*/ 26970 w 4339610"/>
              <a:gd name="connsiteY4" fmla="*/ 0 h 5778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9610" h="5778151">
                <a:moveTo>
                  <a:pt x="26970" y="0"/>
                </a:moveTo>
                <a:lnTo>
                  <a:pt x="4337201" y="0"/>
                </a:lnTo>
                <a:cubicBezTo>
                  <a:pt x="4336432" y="1924340"/>
                  <a:pt x="4340277" y="3853811"/>
                  <a:pt x="4339508" y="5778151"/>
                </a:cubicBezTo>
                <a:lnTo>
                  <a:pt x="0" y="5758767"/>
                </a:lnTo>
                <a:lnTo>
                  <a:pt x="26970" y="0"/>
                </a:lnTo>
                <a:close/>
              </a:path>
            </a:pathLst>
          </a:cu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/>
        </p:nvSpPr>
        <p:spPr>
          <a:xfrm rot="10800000" flipH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4" name="Заголовок 6">
            <a:extLst>
              <a:ext uri="{FF2B5EF4-FFF2-40B4-BE49-F238E27FC236}">
                <a16:creationId xmlns:a16="http://schemas.microsoft.com/office/drawing/2014/main" id="{4C4B5BD4-31A6-4920-8F19-605A3B8FC52E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/>
        </p:nvSpPr>
        <p:spPr>
          <a:xfrm>
            <a:off x="4939284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D0B8B00-2998-4932-8CA9-C74A610A364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430" y="476250"/>
            <a:ext cx="1235743" cy="394538"/>
          </a:xfrm>
          <a:prstGeom prst="rect">
            <a:avLst/>
          </a:prstGeom>
        </p:spPr>
      </p:pic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095257C-24AB-4BAC-BCFF-6625E4200E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8422" y="4676394"/>
            <a:ext cx="3609703" cy="10517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bg1"/>
                </a:solidFill>
                <a:latin typeface="+mn-lt"/>
                <a:ea typeface="Roboto Light" panose="02000000000000000000" pitchFamily="2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Подзаголовок</a:t>
            </a:r>
          </a:p>
        </p:txBody>
      </p:sp>
      <p:sp>
        <p:nvSpPr>
          <p:cNvPr id="29" name="Текст 31">
            <a:extLst>
              <a:ext uri="{FF2B5EF4-FFF2-40B4-BE49-F238E27FC236}">
                <a16:creationId xmlns:a16="http://schemas.microsoft.com/office/drawing/2014/main" id="{2163AA49-F29C-4B23-805B-C4BBFA1114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8422" y="5924363"/>
            <a:ext cx="3609703" cy="2343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Подготовлено для</a:t>
            </a:r>
          </a:p>
        </p:txBody>
      </p:sp>
      <p:sp>
        <p:nvSpPr>
          <p:cNvPr id="30" name="Текст 31">
            <a:extLst>
              <a:ext uri="{FF2B5EF4-FFF2-40B4-BE49-F238E27FC236}">
                <a16:creationId xmlns:a16="http://schemas.microsoft.com/office/drawing/2014/main" id="{D75E8106-A6DA-43E7-8676-6FB1D02FAB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8422" y="6193304"/>
            <a:ext cx="3609703" cy="23439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Дата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422" y="2263777"/>
            <a:ext cx="3609703" cy="2181606"/>
          </a:xfrm>
          <a:prstGeom prst="rect">
            <a:avLst/>
          </a:prstGeom>
        </p:spPr>
        <p:txBody>
          <a:bodyPr anchor="b"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22622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FF22288-AAA0-459D-AFD7-760E64428C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15934" y="3720762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E88CCF38-632E-4300-A1E8-9C9BEE8C529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72915" y="3720762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2B8DAB9C-23CB-423F-AC82-CB9AAED7164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029899" y="3720762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5" name="Rectangle 5">
            <a:extLst>
              <a:ext uri="{FF2B5EF4-FFF2-40B4-BE49-F238E27FC236}">
                <a16:creationId xmlns:a16="http://schemas.microsoft.com/office/drawing/2014/main" id="{2BFBB444-431E-42EC-B1BD-521F4E7AB0F3}"/>
              </a:ext>
            </a:extLst>
          </p:cNvPr>
          <p:cNvSpPr/>
          <p:nvPr/>
        </p:nvSpPr>
        <p:spPr>
          <a:xfrm>
            <a:off x="515937" y="3555662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7" name="Group 22">
            <a:extLst>
              <a:ext uri="{FF2B5EF4-FFF2-40B4-BE49-F238E27FC236}">
                <a16:creationId xmlns:a16="http://schemas.microsoft.com/office/drawing/2014/main" id="{31A980DD-B333-400D-91E2-B6E9C8EE48B0}"/>
              </a:ext>
            </a:extLst>
          </p:cNvPr>
          <p:cNvGrpSpPr/>
          <p:nvPr/>
        </p:nvGrpSpPr>
        <p:grpSpPr>
          <a:xfrm rot="2700000">
            <a:off x="3979931" y="3578681"/>
            <a:ext cx="119062" cy="119062"/>
            <a:chOff x="5961318" y="1004888"/>
            <a:chExt cx="119062" cy="119062"/>
          </a:xfrm>
        </p:grpSpPr>
        <p:cxnSp>
          <p:nvCxnSpPr>
            <p:cNvPr id="38" name="Straight Connector 20">
              <a:extLst>
                <a:ext uri="{FF2B5EF4-FFF2-40B4-BE49-F238E27FC236}">
                  <a16:creationId xmlns:a16="http://schemas.microsoft.com/office/drawing/2014/main" id="{DCBA8C88-FBAB-4FD1-A3EB-06CBA9F3899D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21">
              <a:extLst>
                <a:ext uri="{FF2B5EF4-FFF2-40B4-BE49-F238E27FC236}">
                  <a16:creationId xmlns:a16="http://schemas.microsoft.com/office/drawing/2014/main" id="{982473EE-C284-4ADB-9853-6CCD5B9F853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 5">
            <a:extLst>
              <a:ext uri="{FF2B5EF4-FFF2-40B4-BE49-F238E27FC236}">
                <a16:creationId xmlns:a16="http://schemas.microsoft.com/office/drawing/2014/main" id="{C0E61ED6-5CBA-40DB-A818-61411AC6DEB4}"/>
              </a:ext>
            </a:extLst>
          </p:cNvPr>
          <p:cNvSpPr/>
          <p:nvPr/>
        </p:nvSpPr>
        <p:spPr>
          <a:xfrm>
            <a:off x="4272918" y="3555662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2" name="Group 22">
            <a:extLst>
              <a:ext uri="{FF2B5EF4-FFF2-40B4-BE49-F238E27FC236}">
                <a16:creationId xmlns:a16="http://schemas.microsoft.com/office/drawing/2014/main" id="{48B1979C-D39D-4325-8960-392CF23D2029}"/>
              </a:ext>
            </a:extLst>
          </p:cNvPr>
          <p:cNvGrpSpPr/>
          <p:nvPr/>
        </p:nvGrpSpPr>
        <p:grpSpPr>
          <a:xfrm rot="2700000">
            <a:off x="7736912" y="3578681"/>
            <a:ext cx="119062" cy="119062"/>
            <a:chOff x="5961318" y="1004888"/>
            <a:chExt cx="119062" cy="119062"/>
          </a:xfrm>
        </p:grpSpPr>
        <p:cxnSp>
          <p:nvCxnSpPr>
            <p:cNvPr id="43" name="Straight Connector 20">
              <a:extLst>
                <a:ext uri="{FF2B5EF4-FFF2-40B4-BE49-F238E27FC236}">
                  <a16:creationId xmlns:a16="http://schemas.microsoft.com/office/drawing/2014/main" id="{1E6A0AE0-F02E-4FA8-A97F-73FFEF30BD1A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21">
              <a:extLst>
                <a:ext uri="{FF2B5EF4-FFF2-40B4-BE49-F238E27FC236}">
                  <a16:creationId xmlns:a16="http://schemas.microsoft.com/office/drawing/2014/main" id="{C3606D37-1EA3-4212-987B-8EC8625243D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5">
            <a:extLst>
              <a:ext uri="{FF2B5EF4-FFF2-40B4-BE49-F238E27FC236}">
                <a16:creationId xmlns:a16="http://schemas.microsoft.com/office/drawing/2014/main" id="{E4BAAA84-C114-429D-9485-B98FEF5A8E1A}"/>
              </a:ext>
            </a:extLst>
          </p:cNvPr>
          <p:cNvSpPr/>
          <p:nvPr/>
        </p:nvSpPr>
        <p:spPr>
          <a:xfrm>
            <a:off x="8029902" y="3555662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7" name="Group 22">
            <a:extLst>
              <a:ext uri="{FF2B5EF4-FFF2-40B4-BE49-F238E27FC236}">
                <a16:creationId xmlns:a16="http://schemas.microsoft.com/office/drawing/2014/main" id="{6941AF34-34C1-4F76-9010-06C68AEA30D3}"/>
              </a:ext>
            </a:extLst>
          </p:cNvPr>
          <p:cNvGrpSpPr/>
          <p:nvPr/>
        </p:nvGrpSpPr>
        <p:grpSpPr>
          <a:xfrm rot="2700000">
            <a:off x="11493896" y="3578681"/>
            <a:ext cx="119062" cy="119062"/>
            <a:chOff x="5961318" y="1004888"/>
            <a:chExt cx="119062" cy="119062"/>
          </a:xfrm>
        </p:grpSpPr>
        <p:cxnSp>
          <p:nvCxnSpPr>
            <p:cNvPr id="48" name="Straight Connector 20">
              <a:extLst>
                <a:ext uri="{FF2B5EF4-FFF2-40B4-BE49-F238E27FC236}">
                  <a16:creationId xmlns:a16="http://schemas.microsoft.com/office/drawing/2014/main" id="{3EF2C97E-3BE7-48DB-9D88-9115D19B2D5E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21">
              <a:extLst>
                <a:ext uri="{FF2B5EF4-FFF2-40B4-BE49-F238E27FC236}">
                  <a16:creationId xmlns:a16="http://schemas.microsoft.com/office/drawing/2014/main" id="{8A556BFE-CC77-4AE1-B5F6-6AFC9C0C98B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Текст 2">
            <a:extLst>
              <a:ext uri="{FF2B5EF4-FFF2-40B4-BE49-F238E27FC236}">
                <a16:creationId xmlns:a16="http://schemas.microsoft.com/office/drawing/2014/main" id="{85DC60DA-93FD-4435-8247-631B0F3BE3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4BC35528-2EC8-4815-8E01-802BF439EE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8293352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C4C9AF5C-D7A0-4879-9DE3-3848B4EE5A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291660" y="16859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608BE6CE-FB6A-41E9-ADDE-B1928E2D50A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291660" y="41162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5F091B24-7D35-4460-92D5-CFE3414C394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54179" y="16859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9903AE43-539E-4828-9A6F-5145FEFE582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54179" y="41162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833EE-FAC3-45BC-97A0-80DD06CC1DA0}"/>
              </a:ext>
            </a:extLst>
          </p:cNvPr>
          <p:cNvSpPr/>
          <p:nvPr/>
        </p:nvSpPr>
        <p:spPr>
          <a:xfrm>
            <a:off x="2291663" y="15208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E9E460-0638-4E96-9F95-AA4058041D73}"/>
              </a:ext>
            </a:extLst>
          </p:cNvPr>
          <p:cNvSpPr/>
          <p:nvPr/>
        </p:nvSpPr>
        <p:spPr>
          <a:xfrm>
            <a:off x="2291663" y="39511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35F986C-D6E2-4713-A778-408284BE149D}"/>
              </a:ext>
            </a:extLst>
          </p:cNvPr>
          <p:cNvGrpSpPr/>
          <p:nvPr/>
        </p:nvGrpSpPr>
        <p:grpSpPr>
          <a:xfrm rot="2700000">
            <a:off x="5755657" y="1543844"/>
            <a:ext cx="119062" cy="119062"/>
            <a:chOff x="5961318" y="1004888"/>
            <a:chExt cx="119062" cy="11906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2D2A80F-E12D-4FC0-881C-9C1A8BF63AF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55DABE9-94CE-4ED7-B69D-F98AE2C989D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0FB323E-1BDD-467F-B5E2-7F856E78D0FD}"/>
              </a:ext>
            </a:extLst>
          </p:cNvPr>
          <p:cNvGrpSpPr/>
          <p:nvPr/>
        </p:nvGrpSpPr>
        <p:grpSpPr>
          <a:xfrm rot="2700000">
            <a:off x="5755657" y="3974144"/>
            <a:ext cx="119062" cy="119062"/>
            <a:chOff x="5961318" y="1004888"/>
            <a:chExt cx="119062" cy="119062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9011DB6-FF2F-43E4-AFB5-879FBE86934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EC76A17-3C7E-4C32-AC29-763448F87FC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5">
            <a:extLst>
              <a:ext uri="{FF2B5EF4-FFF2-40B4-BE49-F238E27FC236}">
                <a16:creationId xmlns:a16="http://schemas.microsoft.com/office/drawing/2014/main" id="{83CC5A62-94A5-4520-A95F-BDDDAFC7284C}"/>
              </a:ext>
            </a:extLst>
          </p:cNvPr>
          <p:cNvSpPr/>
          <p:nvPr/>
        </p:nvSpPr>
        <p:spPr>
          <a:xfrm>
            <a:off x="6254182" y="15208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227E4834-AE30-4B83-AF63-4C76C17EDED2}"/>
              </a:ext>
            </a:extLst>
          </p:cNvPr>
          <p:cNvSpPr/>
          <p:nvPr/>
        </p:nvSpPr>
        <p:spPr>
          <a:xfrm>
            <a:off x="6254182" y="39511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0" name="Group 22">
            <a:extLst>
              <a:ext uri="{FF2B5EF4-FFF2-40B4-BE49-F238E27FC236}">
                <a16:creationId xmlns:a16="http://schemas.microsoft.com/office/drawing/2014/main" id="{7ED1FF97-F54C-4C8B-97C6-477D2C13F035}"/>
              </a:ext>
            </a:extLst>
          </p:cNvPr>
          <p:cNvGrpSpPr/>
          <p:nvPr/>
        </p:nvGrpSpPr>
        <p:grpSpPr>
          <a:xfrm rot="2700000">
            <a:off x="9718176" y="1543844"/>
            <a:ext cx="119062" cy="119062"/>
            <a:chOff x="5961318" y="1004888"/>
            <a:chExt cx="119062" cy="119062"/>
          </a:xfrm>
        </p:grpSpPr>
        <p:cxnSp>
          <p:nvCxnSpPr>
            <p:cNvPr id="41" name="Straight Connector 20">
              <a:extLst>
                <a:ext uri="{FF2B5EF4-FFF2-40B4-BE49-F238E27FC236}">
                  <a16:creationId xmlns:a16="http://schemas.microsoft.com/office/drawing/2014/main" id="{86DBC299-2D3D-4029-99B2-0F1F79651D91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>
              <a:extLst>
                <a:ext uri="{FF2B5EF4-FFF2-40B4-BE49-F238E27FC236}">
                  <a16:creationId xmlns:a16="http://schemas.microsoft.com/office/drawing/2014/main" id="{9005335A-4F47-47E6-BE1D-BDEB50DE8BD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19">
            <a:extLst>
              <a:ext uri="{FF2B5EF4-FFF2-40B4-BE49-F238E27FC236}">
                <a16:creationId xmlns:a16="http://schemas.microsoft.com/office/drawing/2014/main" id="{F9D563DB-0B65-4657-B33D-0543EBC1300F}"/>
              </a:ext>
            </a:extLst>
          </p:cNvPr>
          <p:cNvGrpSpPr/>
          <p:nvPr/>
        </p:nvGrpSpPr>
        <p:grpSpPr>
          <a:xfrm rot="2700000">
            <a:off x="9718176" y="3974144"/>
            <a:ext cx="119062" cy="119062"/>
            <a:chOff x="5961318" y="1004888"/>
            <a:chExt cx="119062" cy="119062"/>
          </a:xfrm>
        </p:grpSpPr>
        <p:cxnSp>
          <p:nvCxnSpPr>
            <p:cNvPr id="44" name="Straight Connector 23">
              <a:extLst>
                <a:ext uri="{FF2B5EF4-FFF2-40B4-BE49-F238E27FC236}">
                  <a16:creationId xmlns:a16="http://schemas.microsoft.com/office/drawing/2014/main" id="{A8638CD9-D4B6-4A38-849A-278156978CA3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7">
              <a:extLst>
                <a:ext uri="{FF2B5EF4-FFF2-40B4-BE49-F238E27FC236}">
                  <a16:creationId xmlns:a16="http://schemas.microsoft.com/office/drawing/2014/main" id="{2D53BDD3-EDC1-4D07-A0EE-61E7E17551F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Текст 2">
            <a:extLst>
              <a:ext uri="{FF2B5EF4-FFF2-40B4-BE49-F238E27FC236}">
                <a16:creationId xmlns:a16="http://schemas.microsoft.com/office/drawing/2014/main" id="{9D400844-0922-4342-9346-C2CA29B32A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E9F21D11-5E95-4CC8-A578-FB53E4E70D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5368697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C4C9AF5C-D7A0-4879-9DE3-3848B4EE5A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53822" y="16859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608BE6CE-FB6A-41E9-ADDE-B1928E2D50A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553822" y="41162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5F091B24-7D35-4460-92D5-CFE3414C394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54179" y="16859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9903AE43-539E-4828-9A6F-5145FEFE582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54179" y="41162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833EE-FAC3-45BC-97A0-80DD06CC1DA0}"/>
              </a:ext>
            </a:extLst>
          </p:cNvPr>
          <p:cNvSpPr/>
          <p:nvPr/>
        </p:nvSpPr>
        <p:spPr>
          <a:xfrm>
            <a:off x="2553822" y="15208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E9E460-0638-4E96-9F95-AA4058041D73}"/>
              </a:ext>
            </a:extLst>
          </p:cNvPr>
          <p:cNvSpPr/>
          <p:nvPr/>
        </p:nvSpPr>
        <p:spPr>
          <a:xfrm>
            <a:off x="2553822" y="39511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35F986C-D6E2-4713-A778-408284BE149D}"/>
              </a:ext>
            </a:extLst>
          </p:cNvPr>
          <p:cNvGrpSpPr/>
          <p:nvPr/>
        </p:nvGrpSpPr>
        <p:grpSpPr>
          <a:xfrm rot="2700000">
            <a:off x="5755657" y="1543844"/>
            <a:ext cx="119062" cy="119062"/>
            <a:chOff x="5961318" y="1004888"/>
            <a:chExt cx="119062" cy="11906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2D2A80F-E12D-4FC0-881C-9C1A8BF63AF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55DABE9-94CE-4ED7-B69D-F98AE2C989D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0FB323E-1BDD-467F-B5E2-7F856E78D0FD}"/>
              </a:ext>
            </a:extLst>
          </p:cNvPr>
          <p:cNvGrpSpPr/>
          <p:nvPr/>
        </p:nvGrpSpPr>
        <p:grpSpPr>
          <a:xfrm rot="2700000">
            <a:off x="5755657" y="3974144"/>
            <a:ext cx="119062" cy="119062"/>
            <a:chOff x="5961318" y="1004888"/>
            <a:chExt cx="119062" cy="119062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9011DB6-FF2F-43E4-AFB5-879FBE86934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EC76A17-3C7E-4C32-AC29-763448F87FC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5">
            <a:extLst>
              <a:ext uri="{FF2B5EF4-FFF2-40B4-BE49-F238E27FC236}">
                <a16:creationId xmlns:a16="http://schemas.microsoft.com/office/drawing/2014/main" id="{83CC5A62-94A5-4520-A95F-BDDDAFC7284C}"/>
              </a:ext>
            </a:extLst>
          </p:cNvPr>
          <p:cNvSpPr/>
          <p:nvPr/>
        </p:nvSpPr>
        <p:spPr>
          <a:xfrm>
            <a:off x="6254182" y="15208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227E4834-AE30-4B83-AF63-4C76C17EDED2}"/>
              </a:ext>
            </a:extLst>
          </p:cNvPr>
          <p:cNvSpPr/>
          <p:nvPr/>
        </p:nvSpPr>
        <p:spPr>
          <a:xfrm>
            <a:off x="6254182" y="39511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0" name="Group 22">
            <a:extLst>
              <a:ext uri="{FF2B5EF4-FFF2-40B4-BE49-F238E27FC236}">
                <a16:creationId xmlns:a16="http://schemas.microsoft.com/office/drawing/2014/main" id="{7ED1FF97-F54C-4C8B-97C6-477D2C13F035}"/>
              </a:ext>
            </a:extLst>
          </p:cNvPr>
          <p:cNvGrpSpPr/>
          <p:nvPr/>
        </p:nvGrpSpPr>
        <p:grpSpPr>
          <a:xfrm rot="2700000">
            <a:off x="9464684" y="1543844"/>
            <a:ext cx="119062" cy="119062"/>
            <a:chOff x="5961318" y="1004888"/>
            <a:chExt cx="119062" cy="119062"/>
          </a:xfrm>
        </p:grpSpPr>
        <p:cxnSp>
          <p:nvCxnSpPr>
            <p:cNvPr id="41" name="Straight Connector 20">
              <a:extLst>
                <a:ext uri="{FF2B5EF4-FFF2-40B4-BE49-F238E27FC236}">
                  <a16:creationId xmlns:a16="http://schemas.microsoft.com/office/drawing/2014/main" id="{86DBC299-2D3D-4029-99B2-0F1F79651D91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>
              <a:extLst>
                <a:ext uri="{FF2B5EF4-FFF2-40B4-BE49-F238E27FC236}">
                  <a16:creationId xmlns:a16="http://schemas.microsoft.com/office/drawing/2014/main" id="{9005335A-4F47-47E6-BE1D-BDEB50DE8BD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19">
            <a:extLst>
              <a:ext uri="{FF2B5EF4-FFF2-40B4-BE49-F238E27FC236}">
                <a16:creationId xmlns:a16="http://schemas.microsoft.com/office/drawing/2014/main" id="{F9D563DB-0B65-4657-B33D-0543EBC1300F}"/>
              </a:ext>
            </a:extLst>
          </p:cNvPr>
          <p:cNvGrpSpPr/>
          <p:nvPr/>
        </p:nvGrpSpPr>
        <p:grpSpPr>
          <a:xfrm rot="2700000">
            <a:off x="9464684" y="3974144"/>
            <a:ext cx="119062" cy="119062"/>
            <a:chOff x="5961318" y="1004888"/>
            <a:chExt cx="119062" cy="119062"/>
          </a:xfrm>
        </p:grpSpPr>
        <p:cxnSp>
          <p:nvCxnSpPr>
            <p:cNvPr id="44" name="Straight Connector 23">
              <a:extLst>
                <a:ext uri="{FF2B5EF4-FFF2-40B4-BE49-F238E27FC236}">
                  <a16:creationId xmlns:a16="http://schemas.microsoft.com/office/drawing/2014/main" id="{A8638CD9-D4B6-4A38-849A-278156978CA3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7">
              <a:extLst>
                <a:ext uri="{FF2B5EF4-FFF2-40B4-BE49-F238E27FC236}">
                  <a16:creationId xmlns:a16="http://schemas.microsoft.com/office/drawing/2014/main" id="{2D53BDD3-EDC1-4D07-A0EE-61E7E17551F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Текст 2">
            <a:extLst>
              <a:ext uri="{FF2B5EF4-FFF2-40B4-BE49-F238E27FC236}">
                <a16:creationId xmlns:a16="http://schemas.microsoft.com/office/drawing/2014/main" id="{97F21F8B-CCA4-4FD5-82E0-BC5588A9CC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1EBA4C6A-2C23-4470-9353-B60283DFD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9388748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632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Рисунок 34">
            <a:extLst>
              <a:ext uri="{FF2B5EF4-FFF2-40B4-BE49-F238E27FC236}">
                <a16:creationId xmlns:a16="http://schemas.microsoft.com/office/drawing/2014/main" id="{99ED0618-5143-44F2-8C23-BC7B213F3A1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ru-RU"/>
              <a:t> </a:t>
            </a:r>
          </a:p>
        </p:txBody>
      </p:sp>
      <p:sp>
        <p:nvSpPr>
          <p:cNvPr id="8" name="Заголовок 6">
            <a:extLst>
              <a:ext uri="{FF2B5EF4-FFF2-40B4-BE49-F238E27FC236}">
                <a16:creationId xmlns:a16="http://schemas.microsoft.com/office/drawing/2014/main" id="{198EAA76-0DF1-4853-B11F-B13FE07F9D6A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D11BF3E8-752F-436E-AA8E-76D266BEDA6C}"/>
              </a:ext>
            </a:extLst>
          </p:cNvPr>
          <p:cNvSpPr/>
          <p:nvPr/>
        </p:nvSpPr>
        <p:spPr>
          <a:xfrm rot="10800000">
            <a:off x="515938" y="12027"/>
            <a:ext cx="4676548" cy="68580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D9E275F-A1D4-414C-8F67-C9D1389850CF}"/>
              </a:ext>
            </a:extLst>
          </p:cNvPr>
          <p:cNvSpPr/>
          <p:nvPr/>
        </p:nvSpPr>
        <p:spPr>
          <a:xfrm>
            <a:off x="4987292" y="-29561"/>
            <a:ext cx="392180" cy="68875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AF835CDB-456D-48ED-B10D-17FB13757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8028" y="3658920"/>
            <a:ext cx="3114705" cy="596666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49E005-3202-4E6E-84CA-9866B69E5F65}"/>
              </a:ext>
            </a:extLst>
          </p:cNvPr>
          <p:cNvGrpSpPr/>
          <p:nvPr/>
        </p:nvGrpSpPr>
        <p:grpSpPr>
          <a:xfrm>
            <a:off x="729774" y="-29560"/>
            <a:ext cx="72000" cy="4222897"/>
            <a:chOff x="809984" y="1566120"/>
            <a:chExt cx="72000" cy="4222897"/>
          </a:xfrm>
        </p:grpSpPr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B08C6BB0-7D0E-44D8-AAFC-7B7F1302E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039" y="1566120"/>
              <a:ext cx="0" cy="3735882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BBC46049-E468-4A38-BDF7-CBFD8CF8E8B9}"/>
                </a:ext>
              </a:extLst>
            </p:cNvPr>
            <p:cNvSpPr/>
            <p:nvPr/>
          </p:nvSpPr>
          <p:spPr>
            <a:xfrm>
              <a:off x="809984" y="5302002"/>
              <a:ext cx="72000" cy="4870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107EAD7C-F9B8-49CC-8CE5-DC4EDBAE3E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9240" y="477901"/>
            <a:ext cx="1229035" cy="391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68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76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Рисунок 35" descr="Изображение выглядит как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B75CA406-9BE2-49D1-94A8-BAAC6EBB5FF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861"/>
            <a:ext cx="12192000" cy="6883861"/>
          </a:xfrm>
          <a:prstGeom prst="rect">
            <a:avLst/>
          </a:prstGeom>
        </p:spPr>
      </p:pic>
      <p:sp>
        <p:nvSpPr>
          <p:cNvPr id="37" name="Рисунок 47">
            <a:extLst>
              <a:ext uri="{FF2B5EF4-FFF2-40B4-BE49-F238E27FC236}">
                <a16:creationId xmlns:a16="http://schemas.microsoft.com/office/drawing/2014/main" id="{0D02ED66-485F-4BA0-BCA1-A06456D2BD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r>
              <a:rPr lang="ru-RU"/>
              <a:t>   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FF112DBE-6683-4CF2-96D3-7F7C8C293C15}"/>
              </a:ext>
            </a:extLst>
          </p:cNvPr>
          <p:cNvSpPr/>
          <p:nvPr/>
        </p:nvSpPr>
        <p:spPr>
          <a:xfrm>
            <a:off x="7891850" y="-25861"/>
            <a:ext cx="3784213" cy="6883861"/>
          </a:xfrm>
          <a:prstGeom prst="rect">
            <a:avLst/>
          </a:prstGeom>
          <a:gradFill>
            <a:gsLst>
              <a:gs pos="41000">
                <a:schemeClr val="tx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6A645C0F-60F2-4DE5-B517-AA17B776E250}"/>
              </a:ext>
            </a:extLst>
          </p:cNvPr>
          <p:cNvSpPr/>
          <p:nvPr/>
        </p:nvSpPr>
        <p:spPr>
          <a:xfrm>
            <a:off x="7706788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17EF5889-8B95-436D-A171-0E285703ADB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342" y="476250"/>
            <a:ext cx="1235743" cy="394538"/>
          </a:xfrm>
          <a:prstGeom prst="rect">
            <a:avLst/>
          </a:prstGeom>
        </p:spPr>
      </p:pic>
      <p:sp>
        <p:nvSpPr>
          <p:cNvPr id="30" name="Заголовок 17">
            <a:extLst>
              <a:ext uri="{FF2B5EF4-FFF2-40B4-BE49-F238E27FC236}">
                <a16:creationId xmlns:a16="http://schemas.microsoft.com/office/drawing/2014/main" id="{FE30084B-064C-4249-8B60-99A8B365E14A}"/>
              </a:ext>
            </a:extLst>
          </p:cNvPr>
          <p:cNvSpPr txBox="1">
            <a:spLocks/>
          </p:cNvSpPr>
          <p:nvPr/>
        </p:nvSpPr>
        <p:spPr>
          <a:xfrm>
            <a:off x="13166399" y="2327088"/>
            <a:ext cx="2898991" cy="889072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endParaRPr lang="ru-RU" sz="20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D2391A7-985F-4DF6-A761-59E9843256EF}"/>
              </a:ext>
            </a:extLst>
          </p:cNvPr>
          <p:cNvSpPr txBox="1"/>
          <p:nvPr/>
        </p:nvSpPr>
        <p:spPr>
          <a:xfrm>
            <a:off x="8359937" y="5397960"/>
            <a:ext cx="32400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тел./факс</a:t>
            </a:r>
            <a:r>
              <a:rPr lang="ru-RU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:</a:t>
            </a:r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 </a:t>
            </a:r>
            <a:r>
              <a:rPr lang="pt-BR" sz="1200">
                <a:solidFill>
                  <a:schemeClr val="bg1"/>
                </a:solidFill>
                <a:latin typeface="+mj-lt"/>
                <a:ea typeface="Roboto Light" panose="02000000000000000000" pitchFamily="2" charset="0"/>
                <a:cs typeface="Segoe UI Semibold" panose="020B0702040204020203" pitchFamily="34" charset="0"/>
              </a:rPr>
              <a:t>+7 (812) 677 50 88</a:t>
            </a:r>
          </a:p>
          <a:p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e-mail: </a:t>
            </a:r>
            <a:r>
              <a:rPr lang="pt-BR" sz="12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info@bitobe.ru</a:t>
            </a:r>
          </a:p>
          <a:p>
            <a:endParaRPr lang="pt-BR" sz="1200">
              <a:solidFill>
                <a:schemeClr val="bg1"/>
              </a:solidFill>
              <a:latin typeface="+mj-lt"/>
              <a:ea typeface="Roboto" pitchFamily="2" charset="0"/>
            </a:endParaRPr>
          </a:p>
          <a:p>
            <a:endParaRPr lang="pt-BR" sz="1200">
              <a:solidFill>
                <a:schemeClr val="bg1"/>
              </a:solidFill>
              <a:latin typeface="+mj-lt"/>
              <a:ea typeface="Roboto" pitchFamily="2" charset="0"/>
            </a:endParaRPr>
          </a:p>
          <a:p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www.bitobe.ru</a:t>
            </a:r>
            <a:endParaRPr lang="ru-RU" sz="1100">
              <a:solidFill>
                <a:schemeClr val="bg1"/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2C851541-3346-492B-AE69-3A00155B4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1837" y="1358900"/>
            <a:ext cx="3240088" cy="20701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TOBE </a:t>
            </a:r>
            <a:r>
              <a:rPr lang="en-US" sz="2000">
                <a:solidFill>
                  <a:schemeClr val="bg1"/>
                </a:solidFill>
                <a:latin typeface="+mj-lt"/>
              </a:rPr>
              <a:t>—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Best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Impulse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TO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Business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Evolution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69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531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30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Рисунок 41" descr="Изображение выглядит как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564D71C5-388A-46B1-A022-A98CC30150A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861"/>
            <a:ext cx="12192000" cy="6883861"/>
          </a:xfrm>
          <a:prstGeom prst="rect">
            <a:avLst/>
          </a:prstGeom>
        </p:spPr>
      </p:pic>
      <p:sp>
        <p:nvSpPr>
          <p:cNvPr id="43" name="Рисунок 47">
            <a:extLst>
              <a:ext uri="{FF2B5EF4-FFF2-40B4-BE49-F238E27FC236}">
                <a16:creationId xmlns:a16="http://schemas.microsoft.com/office/drawing/2014/main" id="{2C566835-9A48-4FF6-9F86-45AB35588A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r>
              <a:rPr lang="ru-RU"/>
              <a:t>  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7CF5475-829A-4E61-86FB-7F653CB276DA}"/>
              </a:ext>
            </a:extLst>
          </p:cNvPr>
          <p:cNvSpPr/>
          <p:nvPr/>
        </p:nvSpPr>
        <p:spPr>
          <a:xfrm flipV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30" name="Заголовок 6">
            <a:extLst>
              <a:ext uri="{FF2B5EF4-FFF2-40B4-BE49-F238E27FC236}">
                <a16:creationId xmlns:a16="http://schemas.microsoft.com/office/drawing/2014/main" id="{381ECBF8-9B52-4F96-A8FE-FF945594FAD1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D3B9AF05-4789-460A-B166-CA0F06909144}"/>
              </a:ext>
            </a:extLst>
          </p:cNvPr>
          <p:cNvSpPr/>
          <p:nvPr/>
        </p:nvSpPr>
        <p:spPr>
          <a:xfrm>
            <a:off x="4939284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389EBDA-0356-4F15-A10E-B2CDCC03B74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430" y="476250"/>
            <a:ext cx="1235743" cy="394538"/>
          </a:xfrm>
          <a:prstGeom prst="rect">
            <a:avLst/>
          </a:prstGeom>
        </p:spPr>
      </p:pic>
      <p:sp>
        <p:nvSpPr>
          <p:cNvPr id="36" name="Заголовок 17">
            <a:extLst>
              <a:ext uri="{FF2B5EF4-FFF2-40B4-BE49-F238E27FC236}">
                <a16:creationId xmlns:a16="http://schemas.microsoft.com/office/drawing/2014/main" id="{1C16FF04-52E6-46E4-A1FE-B4CD3CBE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7024" y="3909857"/>
            <a:ext cx="4260041" cy="88907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СЕССИЯ ДЛЯ УПРАВЛЕНЧЕСКОЙ </a:t>
            </a:r>
            <a:b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КОМАНДЫ МНГ</a:t>
            </a:r>
          </a:p>
        </p:txBody>
      </p:sp>
      <p:sp>
        <p:nvSpPr>
          <p:cNvPr id="37" name="Заголовок 17">
            <a:extLst>
              <a:ext uri="{FF2B5EF4-FFF2-40B4-BE49-F238E27FC236}">
                <a16:creationId xmlns:a16="http://schemas.microsoft.com/office/drawing/2014/main" id="{F6A027C8-3B7F-4126-9989-0A658653E326}"/>
              </a:ext>
            </a:extLst>
          </p:cNvPr>
          <p:cNvSpPr txBox="1">
            <a:spLocks/>
          </p:cNvSpPr>
          <p:nvPr/>
        </p:nvSpPr>
        <p:spPr>
          <a:xfrm>
            <a:off x="1057025" y="5471382"/>
            <a:ext cx="1472300" cy="288287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ru-RU" sz="1600" b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одзаголовок</a:t>
            </a:r>
          </a:p>
        </p:txBody>
      </p:sp>
      <p:sp>
        <p:nvSpPr>
          <p:cNvPr id="38" name="Заголовок 17">
            <a:extLst>
              <a:ext uri="{FF2B5EF4-FFF2-40B4-BE49-F238E27FC236}">
                <a16:creationId xmlns:a16="http://schemas.microsoft.com/office/drawing/2014/main" id="{25241869-D157-43D6-9DFF-9FD1BA737E1B}"/>
              </a:ext>
            </a:extLst>
          </p:cNvPr>
          <p:cNvSpPr txBox="1">
            <a:spLocks/>
          </p:cNvSpPr>
          <p:nvPr/>
        </p:nvSpPr>
        <p:spPr>
          <a:xfrm>
            <a:off x="1057025" y="5875478"/>
            <a:ext cx="1472300" cy="288287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ru-RU" sz="1600" b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369995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F0823FB3-D590-4C37-A689-9586C1885A5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861"/>
            <a:ext cx="12192000" cy="6883861"/>
          </a:xfrm>
          <a:prstGeom prst="rect">
            <a:avLst/>
          </a:prstGeom>
        </p:spPr>
      </p:pic>
      <p:sp>
        <p:nvSpPr>
          <p:cNvPr id="47" name="Рисунок 47">
            <a:extLst>
              <a:ext uri="{FF2B5EF4-FFF2-40B4-BE49-F238E27FC236}">
                <a16:creationId xmlns:a16="http://schemas.microsoft.com/office/drawing/2014/main" id="{5BA51A45-7239-4F2F-81D9-392F94571DC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r>
              <a:rPr lang="ru-RU"/>
              <a:t>   </a:t>
            </a:r>
          </a:p>
        </p:txBody>
      </p:sp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27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Слайд think-cell" r:id="rId6" imgW="473" imgH="476" progId="TCLayout.ActiveDocument.1">
                  <p:embed/>
                </p:oleObj>
              </mc:Choice>
              <mc:Fallback>
                <p:oleObj name="Слайд think-cell" r:id="rId6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7CF5475-829A-4E61-86FB-7F653CB276DA}"/>
              </a:ext>
            </a:extLst>
          </p:cNvPr>
          <p:cNvSpPr/>
          <p:nvPr/>
        </p:nvSpPr>
        <p:spPr>
          <a:xfrm flipV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30" name="Заголовок 6">
            <a:extLst>
              <a:ext uri="{FF2B5EF4-FFF2-40B4-BE49-F238E27FC236}">
                <a16:creationId xmlns:a16="http://schemas.microsoft.com/office/drawing/2014/main" id="{381ECBF8-9B52-4F96-A8FE-FF945594FAD1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D3B9AF05-4789-460A-B166-CA0F06909144}"/>
              </a:ext>
            </a:extLst>
          </p:cNvPr>
          <p:cNvSpPr/>
          <p:nvPr/>
        </p:nvSpPr>
        <p:spPr>
          <a:xfrm>
            <a:off x="4996396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7" name="Заголовок 17">
            <a:extLst>
              <a:ext uri="{FF2B5EF4-FFF2-40B4-BE49-F238E27FC236}">
                <a16:creationId xmlns:a16="http://schemas.microsoft.com/office/drawing/2014/main" id="{F6A027C8-3B7F-4126-9989-0A658653E326}"/>
              </a:ext>
            </a:extLst>
          </p:cNvPr>
          <p:cNvSpPr txBox="1">
            <a:spLocks/>
          </p:cNvSpPr>
          <p:nvPr/>
        </p:nvSpPr>
        <p:spPr>
          <a:xfrm>
            <a:off x="1193800" y="7124466"/>
            <a:ext cx="3498641" cy="889000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endParaRPr lang="ru-RU" sz="1600" b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3BF7E3B-53E7-42E7-978D-CBFF84A4E05E}"/>
              </a:ext>
            </a:extLst>
          </p:cNvPr>
          <p:cNvGrpSpPr/>
          <p:nvPr/>
        </p:nvGrpSpPr>
        <p:grpSpPr>
          <a:xfrm>
            <a:off x="823594" y="-25861"/>
            <a:ext cx="75181" cy="4239814"/>
            <a:chOff x="823594" y="-25861"/>
            <a:chExt cx="75181" cy="4239814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ED7735A9-5325-4877-8EAC-9A9EBA89646E}"/>
                </a:ext>
              </a:extLst>
            </p:cNvPr>
            <p:cNvSpPr/>
            <p:nvPr/>
          </p:nvSpPr>
          <p:spPr>
            <a:xfrm>
              <a:off x="823594" y="3399915"/>
              <a:ext cx="75181" cy="8140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C74674DD-D042-4CCF-ACE3-908F4967AD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1184" y="-25861"/>
              <a:ext cx="0" cy="3425777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Текст 34">
            <a:extLst>
              <a:ext uri="{FF2B5EF4-FFF2-40B4-BE49-F238E27FC236}">
                <a16:creationId xmlns:a16="http://schemas.microsoft.com/office/drawing/2014/main" id="{22180D23-8F56-44D0-82CC-E18324A24E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7276" y="4398021"/>
            <a:ext cx="3600450" cy="8001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Отправьте себе «письмо </a:t>
            </a:r>
            <a:b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 будущее» с благодарностью </a:t>
            </a:r>
            <a:b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за успешный запуск проекта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ED0D5109-DE61-498D-BF59-19FDBB5F88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7275" y="3397225"/>
            <a:ext cx="3600450" cy="81403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КАПСУЛА </a:t>
            </a:r>
            <a:br>
              <a:rPr lang="en-US"/>
            </a:br>
            <a:r>
              <a:rPr lang="ru-RU"/>
              <a:t>ВРЕМЕНИ</a:t>
            </a:r>
          </a:p>
        </p:txBody>
      </p:sp>
    </p:spTree>
    <p:extLst>
      <p:ext uri="{BB962C8B-B14F-4D97-AF65-F5344CB8AC3E}">
        <p14:creationId xmlns:p14="http://schemas.microsoft.com/office/powerpoint/2010/main" val="30908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!1_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020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</p:spTree>
    <p:extLst>
      <p:ext uri="{BB962C8B-B14F-4D97-AF65-F5344CB8AC3E}">
        <p14:creationId xmlns:p14="http://schemas.microsoft.com/office/powerpoint/2010/main" val="1161195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!1_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963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341593"/>
            <a:ext cx="573246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pic>
        <p:nvPicPr>
          <p:cNvPr id="6" name="Рисунок 5" descr="Изображение выглядит как текст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89A18B22-2BA4-4617-9FC8-0B949D018E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36" r="22136"/>
          <a:stretch>
            <a:fillRect/>
          </a:stretch>
        </p:blipFill>
        <p:spPr>
          <a:xfrm>
            <a:off x="6459538" y="0"/>
            <a:ext cx="5732462" cy="6864350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814240"/>
              <a:gd name="connsiteY0" fmla="*/ 12829 h 5785850"/>
              <a:gd name="connsiteX1" fmla="*/ 5202760 w 5814240"/>
              <a:gd name="connsiteY1" fmla="*/ 0 h 5785850"/>
              <a:gd name="connsiteX2" fmla="*/ 5814240 w 5814240"/>
              <a:gd name="connsiteY2" fmla="*/ 5785848 h 5785850"/>
              <a:gd name="connsiteX3" fmla="*/ 0 w 5814240"/>
              <a:gd name="connsiteY3" fmla="*/ 5785850 h 5785850"/>
              <a:gd name="connsiteX4" fmla="*/ 1033285 w 5814240"/>
              <a:gd name="connsiteY4" fmla="*/ 12829 h 5785850"/>
              <a:gd name="connsiteX0" fmla="*/ 1033285 w 5814240"/>
              <a:gd name="connsiteY0" fmla="*/ 0 h 5773021"/>
              <a:gd name="connsiteX1" fmla="*/ 5352746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4879713 w 5352746"/>
              <a:gd name="connsiteY2" fmla="*/ 5567756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52746"/>
              <a:gd name="connsiteY0" fmla="*/ 0 h 5773021"/>
              <a:gd name="connsiteX1" fmla="*/ 5352746 w 5352746"/>
              <a:gd name="connsiteY1" fmla="*/ 0 h 5773021"/>
              <a:gd name="connsiteX2" fmla="*/ 5341208 w 5352746"/>
              <a:gd name="connsiteY2" fmla="*/ 5773019 h 5773021"/>
              <a:gd name="connsiteX3" fmla="*/ 0 w 5352746"/>
              <a:gd name="connsiteY3" fmla="*/ 5773021 h 5773021"/>
              <a:gd name="connsiteX4" fmla="*/ 1033285 w 5352746"/>
              <a:gd name="connsiteY4" fmla="*/ 0 h 5773021"/>
              <a:gd name="connsiteX0" fmla="*/ 1033285 w 5341208"/>
              <a:gd name="connsiteY0" fmla="*/ 0 h 5773021"/>
              <a:gd name="connsiteX1" fmla="*/ 5288137 w 5341208"/>
              <a:gd name="connsiteY1" fmla="*/ 107763 h 5773021"/>
              <a:gd name="connsiteX2" fmla="*/ 5341208 w 5341208"/>
              <a:gd name="connsiteY2" fmla="*/ 5773019 h 5773021"/>
              <a:gd name="connsiteX3" fmla="*/ 0 w 5341208"/>
              <a:gd name="connsiteY3" fmla="*/ 5773021 h 5773021"/>
              <a:gd name="connsiteX4" fmla="*/ 1033285 w 5341208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341208 w 5343516"/>
              <a:gd name="connsiteY2" fmla="*/ 5773019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3516"/>
              <a:gd name="connsiteY0" fmla="*/ 0 h 5773021"/>
              <a:gd name="connsiteX1" fmla="*/ 5343516 w 5343516"/>
              <a:gd name="connsiteY1" fmla="*/ 0 h 5773021"/>
              <a:gd name="connsiteX2" fmla="*/ 5290444 w 5343516"/>
              <a:gd name="connsiteY2" fmla="*/ 5701177 h 5773021"/>
              <a:gd name="connsiteX3" fmla="*/ 0 w 5343516"/>
              <a:gd name="connsiteY3" fmla="*/ 5773021 h 5773021"/>
              <a:gd name="connsiteX4" fmla="*/ 1033285 w 5343516"/>
              <a:gd name="connsiteY4" fmla="*/ 0 h 5773021"/>
              <a:gd name="connsiteX0" fmla="*/ 1033285 w 5345925"/>
              <a:gd name="connsiteY0" fmla="*/ 0 h 5778151"/>
              <a:gd name="connsiteX1" fmla="*/ 5343516 w 5345925"/>
              <a:gd name="connsiteY1" fmla="*/ 0 h 5778151"/>
              <a:gd name="connsiteX2" fmla="*/ 5345823 w 5345925"/>
              <a:gd name="connsiteY2" fmla="*/ 5778151 h 5778151"/>
              <a:gd name="connsiteX3" fmla="*/ 0 w 5345925"/>
              <a:gd name="connsiteY3" fmla="*/ 5773021 h 5778151"/>
              <a:gd name="connsiteX4" fmla="*/ 1033285 w 5345925"/>
              <a:gd name="connsiteY4" fmla="*/ 0 h 5778151"/>
              <a:gd name="connsiteX0" fmla="*/ 26970 w 4339610"/>
              <a:gd name="connsiteY0" fmla="*/ 0 h 5778151"/>
              <a:gd name="connsiteX1" fmla="*/ 4337201 w 4339610"/>
              <a:gd name="connsiteY1" fmla="*/ 0 h 5778151"/>
              <a:gd name="connsiteX2" fmla="*/ 4339508 w 4339610"/>
              <a:gd name="connsiteY2" fmla="*/ 5778151 h 5778151"/>
              <a:gd name="connsiteX3" fmla="*/ 0 w 4339610"/>
              <a:gd name="connsiteY3" fmla="*/ 5758767 h 5778151"/>
              <a:gd name="connsiteX4" fmla="*/ 26970 w 4339610"/>
              <a:gd name="connsiteY4" fmla="*/ 0 h 5778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9610" h="5778151">
                <a:moveTo>
                  <a:pt x="26970" y="0"/>
                </a:moveTo>
                <a:lnTo>
                  <a:pt x="4337201" y="0"/>
                </a:lnTo>
                <a:cubicBezTo>
                  <a:pt x="4336432" y="1924340"/>
                  <a:pt x="4340277" y="3853811"/>
                  <a:pt x="4339508" y="5778151"/>
                </a:cubicBezTo>
                <a:lnTo>
                  <a:pt x="0" y="5758767"/>
                </a:lnTo>
                <a:lnTo>
                  <a:pt x="26970" y="0"/>
                </a:lnTo>
                <a:close/>
              </a:path>
            </a:pathLst>
          </a:cu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0B0502E-1044-42A7-9764-3EE8B142247B}"/>
              </a:ext>
            </a:extLst>
          </p:cNvPr>
          <p:cNvSpPr/>
          <p:nvPr/>
        </p:nvSpPr>
        <p:spPr>
          <a:xfrm>
            <a:off x="10406092" y="0"/>
            <a:ext cx="1432266" cy="685800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4000"/>
                </a:schemeClr>
              </a:gs>
              <a:gs pos="59000">
                <a:schemeClr val="bg1">
                  <a:alpha val="0"/>
                </a:schemeClr>
              </a:gs>
            </a:gsLst>
            <a:lin ang="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20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9F6B548-2C3C-4720-AE11-87FCB38EF24C}"/>
              </a:ext>
            </a:extLst>
          </p:cNvPr>
          <p:cNvSpPr/>
          <p:nvPr/>
        </p:nvSpPr>
        <p:spPr>
          <a:xfrm>
            <a:off x="10657889" y="0"/>
            <a:ext cx="2518391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34000"/>
                </a:schemeClr>
              </a:gs>
              <a:gs pos="59000">
                <a:schemeClr val="bg1">
                  <a:alpha val="0"/>
                </a:schemeClr>
              </a:gs>
            </a:gsLst>
            <a:lin ang="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20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13C624EC-82AD-48E7-9A36-C7A086AEC455}"/>
              </a:ext>
            </a:extLst>
          </p:cNvPr>
          <p:cNvSpPr/>
          <p:nvPr/>
        </p:nvSpPr>
        <p:spPr>
          <a:xfrm>
            <a:off x="6732800" y="0"/>
            <a:ext cx="2372479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45000"/>
                </a:schemeClr>
              </a:gs>
              <a:gs pos="59000">
                <a:schemeClr val="bg1">
                  <a:alpha val="0"/>
                </a:schemeClr>
              </a:gs>
            </a:gsLst>
            <a:lin ang="0" scaled="0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600" indent="-228600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200" err="1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278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Заголовок в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241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0A384496-76C1-412F-A8E2-3614FD633A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122F1DB-E87A-4DEB-9AA6-F52DF98F2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869690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</a:t>
            </a:r>
            <a:br>
              <a:rPr lang="en-US"/>
            </a:br>
            <a:r>
              <a:rPr lang="ru-RU"/>
              <a:t>в </a:t>
            </a:r>
            <a:r>
              <a:rPr lang="en-US"/>
              <a:t>2</a:t>
            </a:r>
            <a:r>
              <a:rPr lang="ru-RU"/>
              <a:t> строку</a:t>
            </a:r>
          </a:p>
        </p:txBody>
      </p:sp>
    </p:spTree>
    <p:extLst>
      <p:ext uri="{BB962C8B-B14F-4D97-AF65-F5344CB8AC3E}">
        <p14:creationId xmlns:p14="http://schemas.microsoft.com/office/powerpoint/2010/main" val="3877627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 descr="Изображение выглядит как чашка, кофе&#10;&#10;Автоматически созданное описание">
            <a:extLst>
              <a:ext uri="{FF2B5EF4-FFF2-40B4-BE49-F238E27FC236}">
                <a16:creationId xmlns:a16="http://schemas.microsoft.com/office/drawing/2014/main" id="{DA9B7258-152B-4CF4-8CC3-D9E5E5A6B0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A32510C-857D-4981-94B7-C2C2F261FC46}"/>
              </a:ext>
            </a:extLst>
          </p:cNvPr>
          <p:cNvSpPr/>
          <p:nvPr/>
        </p:nvSpPr>
        <p:spPr>
          <a:xfrm>
            <a:off x="0" y="-10633"/>
            <a:ext cx="12192000" cy="6864811"/>
          </a:xfrm>
          <a:prstGeom prst="rect">
            <a:avLst/>
          </a:prstGeom>
          <a:gradFill>
            <a:gsLst>
              <a:gs pos="0">
                <a:schemeClr val="accent1">
                  <a:alpha val="33000"/>
                </a:schemeClr>
              </a:gs>
              <a:gs pos="100000">
                <a:schemeClr val="accent1">
                  <a:alpha val="3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/>
        </p:nvSpPr>
        <p:spPr>
          <a:xfrm rot="10800000" flipH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4" name="Заголовок 6">
            <a:extLst>
              <a:ext uri="{FF2B5EF4-FFF2-40B4-BE49-F238E27FC236}">
                <a16:creationId xmlns:a16="http://schemas.microsoft.com/office/drawing/2014/main" id="{4C4B5BD4-31A6-4920-8F19-605A3B8FC52E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/>
        </p:nvSpPr>
        <p:spPr>
          <a:xfrm>
            <a:off x="4981816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095257C-24AB-4BAC-BCFF-6625E4200E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5672" y="4448900"/>
            <a:ext cx="2517062" cy="3329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aseline="0">
                <a:solidFill>
                  <a:schemeClr val="bg1"/>
                </a:solidFill>
                <a:latin typeface="+mn-lt"/>
                <a:ea typeface="Roboto Light" panose="02000000000000000000" pitchFamily="2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Подзаголовок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8028" y="3562664"/>
            <a:ext cx="3114705" cy="596666"/>
          </a:xfrm>
          <a:prstGeom prst="rect">
            <a:avLst/>
          </a:prstGeom>
        </p:spPr>
        <p:txBody>
          <a:bodyPr anchor="b"/>
          <a:lstStyle>
            <a:lvl1pPr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DD2F2F9-FC18-4DB2-9BE5-E755A92B0C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8756" y="4425222"/>
            <a:ext cx="356656" cy="35665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6DF4B6A3-23D5-445C-9DA2-1E5102F57CDA}"/>
              </a:ext>
            </a:extLst>
          </p:cNvPr>
          <p:cNvGrpSpPr/>
          <p:nvPr/>
        </p:nvGrpSpPr>
        <p:grpSpPr>
          <a:xfrm>
            <a:off x="729774" y="-29560"/>
            <a:ext cx="72000" cy="4222897"/>
            <a:chOff x="809984" y="1566120"/>
            <a:chExt cx="72000" cy="4222897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C0438759-CBAE-40FB-B81E-142BB94238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039" y="1566120"/>
              <a:ext cx="0" cy="3735882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12361A9A-D162-479E-867C-170832003642}"/>
                </a:ext>
              </a:extLst>
            </p:cNvPr>
            <p:cNvSpPr/>
            <p:nvPr/>
          </p:nvSpPr>
          <p:spPr>
            <a:xfrm>
              <a:off x="809984" y="5302002"/>
              <a:ext cx="72000" cy="4870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36413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B1F7E2A0-17FC-4DDB-9260-F4D4B305D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9576" y="6455903"/>
            <a:ext cx="1214424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B7FAE5F7-1BCE-479C-B2F2-117490DA09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8869B43E-E7A7-4D27-B3AE-45497966C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869690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</a:t>
            </a:r>
            <a:br>
              <a:rPr lang="en-US"/>
            </a:br>
            <a:r>
              <a:rPr lang="ru-RU"/>
              <a:t>в </a:t>
            </a:r>
            <a:r>
              <a:rPr lang="en-US"/>
              <a:t>2</a:t>
            </a:r>
            <a:r>
              <a:rPr lang="ru-RU"/>
              <a:t> строку</a:t>
            </a:r>
          </a:p>
        </p:txBody>
      </p:sp>
    </p:spTree>
    <p:extLst>
      <p:ext uri="{BB962C8B-B14F-4D97-AF65-F5344CB8AC3E}">
        <p14:creationId xmlns:p14="http://schemas.microsoft.com/office/powerpoint/2010/main" val="1093029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96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4" name="Рисунок 2">
            <a:extLst>
              <a:ext uri="{FF2B5EF4-FFF2-40B4-BE49-F238E27FC236}">
                <a16:creationId xmlns:a16="http://schemas.microsoft.com/office/drawing/2014/main" id="{57886857-535D-4420-A6B6-EDBB0B70058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5938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5" name="Рисунок 2">
            <a:extLst>
              <a:ext uri="{FF2B5EF4-FFF2-40B4-BE49-F238E27FC236}">
                <a16:creationId xmlns:a16="http://schemas.microsoft.com/office/drawing/2014/main" id="{1C599428-3D74-450F-B81F-31F71DA855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86409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198E06C4-7793-4291-B77A-A146441FA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56880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AFEE30A-581D-4BDA-8728-DEAB49182F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3245836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345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5938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86409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468BD0BB-3AAA-4E90-9601-A4186E298C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56880" y="1089025"/>
            <a:ext cx="3619182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7119BED-B472-48DE-8DD0-E67A60DD46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3243232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746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1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35612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468BD0BB-3AAA-4E90-9601-A4186E298C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0050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ABC25C86-E18C-4236-8EDF-61D51F1FF43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3262" y="1089025"/>
            <a:ext cx="2692800" cy="181673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4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6531D37-2EC3-4A2B-9B24-E767F7341F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3711873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 карточки с маленьки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561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5515200" cy="22332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3243" y="1089025"/>
            <a:ext cx="5515200" cy="223329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363E642-A780-4178-8E86-621F3513F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411983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 карточки с 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601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3556" y="1089025"/>
            <a:ext cx="551520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2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8AAF098-9333-40D1-90C3-D2DEE6B1325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3243" y="1089025"/>
            <a:ext cx="5515200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accent3"/>
            </a:solidFill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C58B4AC-844F-41B1-8BC7-7A74FA871E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859379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фото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761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19437" y="1089025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F8196BF3-5C33-43AD-8BBD-CA9EC9CD5A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19437" y="2863851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D590F98D-CD53-4C9F-A4AF-5D6D6FD5581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719437" y="4627563"/>
            <a:ext cx="2942656" cy="169068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4092F547-5F88-4410-9715-DDF718C296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442543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и карточка с фото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7343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E23F929-5C7C-4826-AB48-E07A0928E70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10613" y="1394009"/>
            <a:ext cx="2965450" cy="230010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/>
          <a:lstStyle>
            <a:lvl1pPr>
              <a:defRPr lang="ru-RU"/>
            </a:lvl1pPr>
          </a:lstStyle>
          <a:p>
            <a:pPr lvl="0"/>
            <a:r>
              <a:rPr lang="ru-RU"/>
              <a:t>Вставка рисунк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D612462-A5BB-4EDA-9156-8F4374C10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978686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очки с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A8D8CCBB-60F1-421E-BD7C-5B2872A3F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437938"/>
            <a:ext cx="509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DE046B16-23DE-48F1-8DB4-4EB4DCFE5D4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45154" y="1233487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id="{D42141B5-D535-4BEE-B807-BA896F7C96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145154" y="296444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1" name="Рисунок 2">
            <a:extLst>
              <a:ext uri="{FF2B5EF4-FFF2-40B4-BE49-F238E27FC236}">
                <a16:creationId xmlns:a16="http://schemas.microsoft.com/office/drawing/2014/main" id="{588E98E2-34ED-488A-891F-FD9535AE217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5154" y="4693629"/>
            <a:ext cx="2331720" cy="15436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337AC333-9995-412B-A338-4739B48C0E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F898D5B-9D38-4A7C-972F-EEF1869254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25053370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лайд с командо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AD355A58-514E-4978-8453-BB5FA1302A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02674" y="4418425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8A54D4FE-3909-44D6-B21E-5A1A44788D7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22511" y="441842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8" name="Рисунок 27">
            <a:extLst>
              <a:ext uri="{FF2B5EF4-FFF2-40B4-BE49-F238E27FC236}">
                <a16:creationId xmlns:a16="http://schemas.microsoft.com/office/drawing/2014/main" id="{B36651C3-541C-4735-A3DC-CDBD0D265B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46" y="441842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5" name="Рисунок 24">
            <a:extLst>
              <a:ext uri="{FF2B5EF4-FFF2-40B4-BE49-F238E27FC236}">
                <a16:creationId xmlns:a16="http://schemas.microsoft.com/office/drawing/2014/main" id="{0CBCDCDC-3CE1-4134-A054-E597A48D59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02673" y="2024606"/>
            <a:ext cx="988167" cy="988167"/>
          </a:xfrm>
          <a:custGeom>
            <a:avLst/>
            <a:gdLst>
              <a:gd name="connsiteX0" fmla="*/ 494083 w 988167"/>
              <a:gd name="connsiteY0" fmla="*/ 0 h 988167"/>
              <a:gd name="connsiteX1" fmla="*/ 988167 w 988167"/>
              <a:gd name="connsiteY1" fmla="*/ 494084 h 988167"/>
              <a:gd name="connsiteX2" fmla="*/ 494083 w 988167"/>
              <a:gd name="connsiteY2" fmla="*/ 988167 h 988167"/>
              <a:gd name="connsiteX3" fmla="*/ 0 w 988167"/>
              <a:gd name="connsiteY3" fmla="*/ 494084 h 988167"/>
              <a:gd name="connsiteX4" fmla="*/ 494083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3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3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99C11288-1DEE-4F48-9319-F37B278E261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22510" y="2024605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" name="Рисунок 19">
            <a:extLst>
              <a:ext uri="{FF2B5EF4-FFF2-40B4-BE49-F238E27FC236}">
                <a16:creationId xmlns:a16="http://schemas.microsoft.com/office/drawing/2014/main" id="{CA017888-274F-43BC-88DF-38CCEC236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2347" y="2024606"/>
            <a:ext cx="988167" cy="988167"/>
          </a:xfrm>
          <a:custGeom>
            <a:avLst/>
            <a:gdLst>
              <a:gd name="connsiteX0" fmla="*/ 494084 w 988167"/>
              <a:gd name="connsiteY0" fmla="*/ 0 h 988167"/>
              <a:gd name="connsiteX1" fmla="*/ 988167 w 988167"/>
              <a:gd name="connsiteY1" fmla="*/ 494084 h 988167"/>
              <a:gd name="connsiteX2" fmla="*/ 494084 w 988167"/>
              <a:gd name="connsiteY2" fmla="*/ 988167 h 988167"/>
              <a:gd name="connsiteX3" fmla="*/ 0 w 988167"/>
              <a:gd name="connsiteY3" fmla="*/ 494084 h 988167"/>
              <a:gd name="connsiteX4" fmla="*/ 494084 w 988167"/>
              <a:gd name="connsiteY4" fmla="*/ 0 h 98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8167" h="988167">
                <a:moveTo>
                  <a:pt x="494084" y="0"/>
                </a:moveTo>
                <a:cubicBezTo>
                  <a:pt x="766958" y="0"/>
                  <a:pt x="988167" y="221209"/>
                  <a:pt x="988167" y="494084"/>
                </a:cubicBezTo>
                <a:cubicBezTo>
                  <a:pt x="988167" y="766958"/>
                  <a:pt x="766958" y="988167"/>
                  <a:pt x="494084" y="988167"/>
                </a:cubicBezTo>
                <a:cubicBezTo>
                  <a:pt x="221209" y="988167"/>
                  <a:pt x="0" y="766958"/>
                  <a:pt x="0" y="494084"/>
                </a:cubicBezTo>
                <a:cubicBezTo>
                  <a:pt x="0" y="221209"/>
                  <a:pt x="221209" y="0"/>
                  <a:pt x="494084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A8D8CCBB-60F1-421E-BD7C-5B2872A3F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352" y="6437938"/>
            <a:ext cx="5096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fld id="{7E1A2DEA-0812-41F9-88C5-48F7F643210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740907DF-C9ED-4D75-98CF-8E77435FB8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22750329-5807-40CF-9A9F-B784D08557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412824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E49B6D85-BA7B-4E30-90CC-8E759D736C0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7150" y="-68483"/>
            <a:ext cx="12249150" cy="6938516"/>
          </a:xfrm>
          <a:prstGeom prst="rect">
            <a:avLst/>
          </a:prstGeom>
        </p:spPr>
        <p:txBody>
          <a:bodyPr/>
          <a:lstStyle/>
          <a:p>
            <a:r>
              <a:rPr lang="ru-RU"/>
              <a:t> </a:t>
            </a:r>
          </a:p>
        </p:txBody>
      </p:sp>
      <p:pic>
        <p:nvPicPr>
          <p:cNvPr id="17" name="Рисунок 16" descr="Изображение выглядит как внутренний, подарочная упаковка&#10;&#10;Автоматически созданное описание">
            <a:extLst>
              <a:ext uri="{FF2B5EF4-FFF2-40B4-BE49-F238E27FC236}">
                <a16:creationId xmlns:a16="http://schemas.microsoft.com/office/drawing/2014/main" id="{727A0DC8-0215-4AAD-968A-E59E28242D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7144" y="-44800"/>
            <a:ext cx="12249144" cy="69028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94D65BB-DB13-4E56-AFF0-FD03DA88627C}"/>
              </a:ext>
            </a:extLst>
          </p:cNvPr>
          <p:cNvSpPr/>
          <p:nvPr/>
        </p:nvSpPr>
        <p:spPr>
          <a:xfrm>
            <a:off x="-57144" y="-44800"/>
            <a:ext cx="12249144" cy="6902799"/>
          </a:xfrm>
          <a:prstGeom prst="rect">
            <a:avLst/>
          </a:prstGeom>
          <a:gradFill>
            <a:gsLst>
              <a:gs pos="0">
                <a:schemeClr val="accent1">
                  <a:alpha val="33000"/>
                </a:schemeClr>
              </a:gs>
              <a:gs pos="100000">
                <a:schemeClr val="accent1">
                  <a:alpha val="3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/>
        </p:nvSpPr>
        <p:spPr>
          <a:xfrm rot="10800000" flipH="1">
            <a:off x="515938" y="-44800"/>
            <a:ext cx="4676548" cy="6914832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4" name="Заголовок 6">
            <a:extLst>
              <a:ext uri="{FF2B5EF4-FFF2-40B4-BE49-F238E27FC236}">
                <a16:creationId xmlns:a16="http://schemas.microsoft.com/office/drawing/2014/main" id="{4C4B5BD4-31A6-4920-8F19-605A3B8FC52E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/>
        </p:nvSpPr>
        <p:spPr>
          <a:xfrm>
            <a:off x="4981816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095257C-24AB-4BAC-BCFF-6625E4200E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5672" y="4448900"/>
            <a:ext cx="2517062" cy="3329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aseline="0">
                <a:solidFill>
                  <a:schemeClr val="bg1"/>
                </a:solidFill>
                <a:latin typeface="+mn-lt"/>
                <a:ea typeface="Roboto Light" panose="02000000000000000000" pitchFamily="2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Подзаголовок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8028" y="3658920"/>
            <a:ext cx="3114705" cy="596666"/>
          </a:xfrm>
          <a:prstGeom prst="rect">
            <a:avLst/>
          </a:prstGeom>
        </p:spPr>
        <p:txBody>
          <a:bodyPr anchor="b"/>
          <a:lstStyle>
            <a:lvl1pPr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DD2F2F9-FC18-4DB2-9BE5-E755A92B0C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8756" y="4425222"/>
            <a:ext cx="356656" cy="35665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6DF4B6A3-23D5-445C-9DA2-1E5102F57CDA}"/>
              </a:ext>
            </a:extLst>
          </p:cNvPr>
          <p:cNvGrpSpPr/>
          <p:nvPr/>
        </p:nvGrpSpPr>
        <p:grpSpPr>
          <a:xfrm>
            <a:off x="729774" y="-29560"/>
            <a:ext cx="72000" cy="4222897"/>
            <a:chOff x="809984" y="1566120"/>
            <a:chExt cx="72000" cy="4222897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C0438759-CBAE-40FB-B81E-142BB94238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039" y="1566120"/>
              <a:ext cx="0" cy="3735882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12361A9A-D162-479E-867C-170832003642}"/>
                </a:ext>
              </a:extLst>
            </p:cNvPr>
            <p:cNvSpPr/>
            <p:nvPr/>
          </p:nvSpPr>
          <p:spPr>
            <a:xfrm>
              <a:off x="809984" y="5302002"/>
              <a:ext cx="72000" cy="4870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54986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9799127-183C-4A66-B5A8-474F44D7CD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5934" y="1685925"/>
            <a:ext cx="5418000" cy="304613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26F0704-14DE-4148-815F-6C7B8F82420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58063" y="1685925"/>
            <a:ext cx="5418000" cy="304613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833EE-FAC3-45BC-97A0-80DD06CC1DA0}"/>
              </a:ext>
            </a:extLst>
          </p:cNvPr>
          <p:cNvSpPr/>
          <p:nvPr/>
        </p:nvSpPr>
        <p:spPr>
          <a:xfrm>
            <a:off x="515934" y="1520825"/>
            <a:ext cx="5418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  <a:tileRect/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C3D705-1135-4844-A2AF-EF8717B16651}"/>
              </a:ext>
            </a:extLst>
          </p:cNvPr>
          <p:cNvSpPr/>
          <p:nvPr/>
        </p:nvSpPr>
        <p:spPr>
          <a:xfrm>
            <a:off x="6259509" y="1520825"/>
            <a:ext cx="5418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2700000" scaled="1"/>
              <a:tileRect/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35F986C-D6E2-4713-A778-408284BE149D}"/>
              </a:ext>
            </a:extLst>
          </p:cNvPr>
          <p:cNvGrpSpPr/>
          <p:nvPr/>
        </p:nvGrpSpPr>
        <p:grpSpPr>
          <a:xfrm rot="2700000">
            <a:off x="5751768" y="1543844"/>
            <a:ext cx="119062" cy="119062"/>
            <a:chOff x="5961318" y="1004888"/>
            <a:chExt cx="119062" cy="11906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2D2A80F-E12D-4FC0-881C-9C1A8BF63AF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55DABE9-94CE-4ED7-B69D-F98AE2C989D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62559E5-FFFE-4580-A667-74212DB6FD98}"/>
              </a:ext>
            </a:extLst>
          </p:cNvPr>
          <p:cNvGrpSpPr/>
          <p:nvPr/>
        </p:nvGrpSpPr>
        <p:grpSpPr>
          <a:xfrm rot="2700000">
            <a:off x="11492451" y="1543844"/>
            <a:ext cx="119062" cy="119062"/>
            <a:chOff x="5961318" y="1004888"/>
            <a:chExt cx="119062" cy="119062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BE9FC5B-CD7D-4FFA-93B5-AD047FFE1DAB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E478BE2-89BE-4F3B-A3F0-6761DCF8B8F0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Текст 2">
            <a:extLst>
              <a:ext uri="{FF2B5EF4-FFF2-40B4-BE49-F238E27FC236}">
                <a16:creationId xmlns:a16="http://schemas.microsoft.com/office/drawing/2014/main" id="{9D7D54F7-A8A5-44F6-9DC8-DE4B5D91CF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9FCE0368-D935-4C67-B863-16B8E2C3AB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38147717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5FF22288-AAA0-459D-AFD7-760E64428C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15934" y="3720762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E88CCF38-632E-4300-A1E8-9C9BEE8C529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72915" y="3720762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2B8DAB9C-23CB-423F-AC82-CB9AAED7164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029899" y="3720762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5" name="Rectangle 5">
            <a:extLst>
              <a:ext uri="{FF2B5EF4-FFF2-40B4-BE49-F238E27FC236}">
                <a16:creationId xmlns:a16="http://schemas.microsoft.com/office/drawing/2014/main" id="{2BFBB444-431E-42EC-B1BD-521F4E7AB0F3}"/>
              </a:ext>
            </a:extLst>
          </p:cNvPr>
          <p:cNvSpPr/>
          <p:nvPr/>
        </p:nvSpPr>
        <p:spPr>
          <a:xfrm>
            <a:off x="515937" y="3555662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7" name="Group 22">
            <a:extLst>
              <a:ext uri="{FF2B5EF4-FFF2-40B4-BE49-F238E27FC236}">
                <a16:creationId xmlns:a16="http://schemas.microsoft.com/office/drawing/2014/main" id="{31A980DD-B333-400D-91E2-B6E9C8EE48B0}"/>
              </a:ext>
            </a:extLst>
          </p:cNvPr>
          <p:cNvGrpSpPr/>
          <p:nvPr/>
        </p:nvGrpSpPr>
        <p:grpSpPr>
          <a:xfrm rot="2700000">
            <a:off x="3979931" y="3578681"/>
            <a:ext cx="119062" cy="119062"/>
            <a:chOff x="5961318" y="1004888"/>
            <a:chExt cx="119062" cy="119062"/>
          </a:xfrm>
        </p:grpSpPr>
        <p:cxnSp>
          <p:nvCxnSpPr>
            <p:cNvPr id="38" name="Straight Connector 20">
              <a:extLst>
                <a:ext uri="{FF2B5EF4-FFF2-40B4-BE49-F238E27FC236}">
                  <a16:creationId xmlns:a16="http://schemas.microsoft.com/office/drawing/2014/main" id="{DCBA8C88-FBAB-4FD1-A3EB-06CBA9F3899D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21">
              <a:extLst>
                <a:ext uri="{FF2B5EF4-FFF2-40B4-BE49-F238E27FC236}">
                  <a16:creationId xmlns:a16="http://schemas.microsoft.com/office/drawing/2014/main" id="{982473EE-C284-4ADB-9853-6CCD5B9F853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 5">
            <a:extLst>
              <a:ext uri="{FF2B5EF4-FFF2-40B4-BE49-F238E27FC236}">
                <a16:creationId xmlns:a16="http://schemas.microsoft.com/office/drawing/2014/main" id="{C0E61ED6-5CBA-40DB-A818-61411AC6DEB4}"/>
              </a:ext>
            </a:extLst>
          </p:cNvPr>
          <p:cNvSpPr/>
          <p:nvPr/>
        </p:nvSpPr>
        <p:spPr>
          <a:xfrm>
            <a:off x="4272918" y="3555662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2" name="Group 22">
            <a:extLst>
              <a:ext uri="{FF2B5EF4-FFF2-40B4-BE49-F238E27FC236}">
                <a16:creationId xmlns:a16="http://schemas.microsoft.com/office/drawing/2014/main" id="{48B1979C-D39D-4325-8960-392CF23D2029}"/>
              </a:ext>
            </a:extLst>
          </p:cNvPr>
          <p:cNvGrpSpPr/>
          <p:nvPr/>
        </p:nvGrpSpPr>
        <p:grpSpPr>
          <a:xfrm rot="2700000">
            <a:off x="7736912" y="3578681"/>
            <a:ext cx="119062" cy="119062"/>
            <a:chOff x="5961318" y="1004888"/>
            <a:chExt cx="119062" cy="119062"/>
          </a:xfrm>
        </p:grpSpPr>
        <p:cxnSp>
          <p:nvCxnSpPr>
            <p:cNvPr id="43" name="Straight Connector 20">
              <a:extLst>
                <a:ext uri="{FF2B5EF4-FFF2-40B4-BE49-F238E27FC236}">
                  <a16:creationId xmlns:a16="http://schemas.microsoft.com/office/drawing/2014/main" id="{1E6A0AE0-F02E-4FA8-A97F-73FFEF30BD1A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21">
              <a:extLst>
                <a:ext uri="{FF2B5EF4-FFF2-40B4-BE49-F238E27FC236}">
                  <a16:creationId xmlns:a16="http://schemas.microsoft.com/office/drawing/2014/main" id="{C3606D37-1EA3-4212-987B-8EC8625243D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5">
            <a:extLst>
              <a:ext uri="{FF2B5EF4-FFF2-40B4-BE49-F238E27FC236}">
                <a16:creationId xmlns:a16="http://schemas.microsoft.com/office/drawing/2014/main" id="{E4BAAA84-C114-429D-9485-B98FEF5A8E1A}"/>
              </a:ext>
            </a:extLst>
          </p:cNvPr>
          <p:cNvSpPr/>
          <p:nvPr/>
        </p:nvSpPr>
        <p:spPr>
          <a:xfrm>
            <a:off x="8029902" y="3555662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7" name="Group 22">
            <a:extLst>
              <a:ext uri="{FF2B5EF4-FFF2-40B4-BE49-F238E27FC236}">
                <a16:creationId xmlns:a16="http://schemas.microsoft.com/office/drawing/2014/main" id="{6941AF34-34C1-4F76-9010-06C68AEA30D3}"/>
              </a:ext>
            </a:extLst>
          </p:cNvPr>
          <p:cNvGrpSpPr/>
          <p:nvPr/>
        </p:nvGrpSpPr>
        <p:grpSpPr>
          <a:xfrm rot="2700000">
            <a:off x="11493896" y="3578681"/>
            <a:ext cx="119062" cy="119062"/>
            <a:chOff x="5961318" y="1004888"/>
            <a:chExt cx="119062" cy="119062"/>
          </a:xfrm>
        </p:grpSpPr>
        <p:cxnSp>
          <p:nvCxnSpPr>
            <p:cNvPr id="48" name="Straight Connector 20">
              <a:extLst>
                <a:ext uri="{FF2B5EF4-FFF2-40B4-BE49-F238E27FC236}">
                  <a16:creationId xmlns:a16="http://schemas.microsoft.com/office/drawing/2014/main" id="{3EF2C97E-3BE7-48DB-9D88-9115D19B2D5E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21">
              <a:extLst>
                <a:ext uri="{FF2B5EF4-FFF2-40B4-BE49-F238E27FC236}">
                  <a16:creationId xmlns:a16="http://schemas.microsoft.com/office/drawing/2014/main" id="{8A556BFE-CC77-4AE1-B5F6-6AFC9C0C98B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Текст 2">
            <a:extLst>
              <a:ext uri="{FF2B5EF4-FFF2-40B4-BE49-F238E27FC236}">
                <a16:creationId xmlns:a16="http://schemas.microsoft.com/office/drawing/2014/main" id="{85DC60DA-93FD-4435-8247-631B0F3BE3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4BC35528-2EC8-4815-8E01-802BF439EE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35263525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C4C9AF5C-D7A0-4879-9DE3-3848B4EE5A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291660" y="16859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608BE6CE-FB6A-41E9-ADDE-B1928E2D50A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291660" y="41162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5F091B24-7D35-4460-92D5-CFE3414C394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54179" y="16859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9903AE43-539E-4828-9A6F-5145FEFE582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54179" y="4116225"/>
            <a:ext cx="3646163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833EE-FAC3-45BC-97A0-80DD06CC1DA0}"/>
              </a:ext>
            </a:extLst>
          </p:cNvPr>
          <p:cNvSpPr/>
          <p:nvPr/>
        </p:nvSpPr>
        <p:spPr>
          <a:xfrm>
            <a:off x="2291663" y="15208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E9E460-0638-4E96-9F95-AA4058041D73}"/>
              </a:ext>
            </a:extLst>
          </p:cNvPr>
          <p:cNvSpPr/>
          <p:nvPr/>
        </p:nvSpPr>
        <p:spPr>
          <a:xfrm>
            <a:off x="2291663" y="39511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35F986C-D6E2-4713-A778-408284BE149D}"/>
              </a:ext>
            </a:extLst>
          </p:cNvPr>
          <p:cNvGrpSpPr/>
          <p:nvPr/>
        </p:nvGrpSpPr>
        <p:grpSpPr>
          <a:xfrm rot="2700000">
            <a:off x="5755657" y="1543844"/>
            <a:ext cx="119062" cy="119062"/>
            <a:chOff x="5961318" y="1004888"/>
            <a:chExt cx="119062" cy="11906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2D2A80F-E12D-4FC0-881C-9C1A8BF63AF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55DABE9-94CE-4ED7-B69D-F98AE2C989D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0FB323E-1BDD-467F-B5E2-7F856E78D0FD}"/>
              </a:ext>
            </a:extLst>
          </p:cNvPr>
          <p:cNvGrpSpPr/>
          <p:nvPr/>
        </p:nvGrpSpPr>
        <p:grpSpPr>
          <a:xfrm rot="2700000">
            <a:off x="5755657" y="3974144"/>
            <a:ext cx="119062" cy="119062"/>
            <a:chOff x="5961318" y="1004888"/>
            <a:chExt cx="119062" cy="119062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9011DB6-FF2F-43E4-AFB5-879FBE86934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EC76A17-3C7E-4C32-AC29-763448F87FC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5">
            <a:extLst>
              <a:ext uri="{FF2B5EF4-FFF2-40B4-BE49-F238E27FC236}">
                <a16:creationId xmlns:a16="http://schemas.microsoft.com/office/drawing/2014/main" id="{83CC5A62-94A5-4520-A95F-BDDDAFC7284C}"/>
              </a:ext>
            </a:extLst>
          </p:cNvPr>
          <p:cNvSpPr/>
          <p:nvPr/>
        </p:nvSpPr>
        <p:spPr>
          <a:xfrm>
            <a:off x="6254182" y="15208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227E4834-AE30-4B83-AF63-4C76C17EDED2}"/>
              </a:ext>
            </a:extLst>
          </p:cNvPr>
          <p:cNvSpPr/>
          <p:nvPr/>
        </p:nvSpPr>
        <p:spPr>
          <a:xfrm>
            <a:off x="6254182" y="3951125"/>
            <a:ext cx="3646159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0" name="Group 22">
            <a:extLst>
              <a:ext uri="{FF2B5EF4-FFF2-40B4-BE49-F238E27FC236}">
                <a16:creationId xmlns:a16="http://schemas.microsoft.com/office/drawing/2014/main" id="{7ED1FF97-F54C-4C8B-97C6-477D2C13F035}"/>
              </a:ext>
            </a:extLst>
          </p:cNvPr>
          <p:cNvGrpSpPr/>
          <p:nvPr/>
        </p:nvGrpSpPr>
        <p:grpSpPr>
          <a:xfrm rot="2700000">
            <a:off x="9718176" y="1543844"/>
            <a:ext cx="119062" cy="119062"/>
            <a:chOff x="5961318" y="1004888"/>
            <a:chExt cx="119062" cy="119062"/>
          </a:xfrm>
        </p:grpSpPr>
        <p:cxnSp>
          <p:nvCxnSpPr>
            <p:cNvPr id="41" name="Straight Connector 20">
              <a:extLst>
                <a:ext uri="{FF2B5EF4-FFF2-40B4-BE49-F238E27FC236}">
                  <a16:creationId xmlns:a16="http://schemas.microsoft.com/office/drawing/2014/main" id="{86DBC299-2D3D-4029-99B2-0F1F79651D91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>
              <a:extLst>
                <a:ext uri="{FF2B5EF4-FFF2-40B4-BE49-F238E27FC236}">
                  <a16:creationId xmlns:a16="http://schemas.microsoft.com/office/drawing/2014/main" id="{9005335A-4F47-47E6-BE1D-BDEB50DE8BD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19">
            <a:extLst>
              <a:ext uri="{FF2B5EF4-FFF2-40B4-BE49-F238E27FC236}">
                <a16:creationId xmlns:a16="http://schemas.microsoft.com/office/drawing/2014/main" id="{F9D563DB-0B65-4657-B33D-0543EBC1300F}"/>
              </a:ext>
            </a:extLst>
          </p:cNvPr>
          <p:cNvGrpSpPr/>
          <p:nvPr/>
        </p:nvGrpSpPr>
        <p:grpSpPr>
          <a:xfrm rot="2700000">
            <a:off x="9718176" y="3974144"/>
            <a:ext cx="119062" cy="119062"/>
            <a:chOff x="5961318" y="1004888"/>
            <a:chExt cx="119062" cy="119062"/>
          </a:xfrm>
        </p:grpSpPr>
        <p:cxnSp>
          <p:nvCxnSpPr>
            <p:cNvPr id="44" name="Straight Connector 23">
              <a:extLst>
                <a:ext uri="{FF2B5EF4-FFF2-40B4-BE49-F238E27FC236}">
                  <a16:creationId xmlns:a16="http://schemas.microsoft.com/office/drawing/2014/main" id="{A8638CD9-D4B6-4A38-849A-278156978CA3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7">
              <a:extLst>
                <a:ext uri="{FF2B5EF4-FFF2-40B4-BE49-F238E27FC236}">
                  <a16:creationId xmlns:a16="http://schemas.microsoft.com/office/drawing/2014/main" id="{2D53BDD3-EDC1-4D07-A0EE-61E7E17551F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Текст 2">
            <a:extLst>
              <a:ext uri="{FF2B5EF4-FFF2-40B4-BE49-F238E27FC236}">
                <a16:creationId xmlns:a16="http://schemas.microsoft.com/office/drawing/2014/main" id="{9D400844-0922-4342-9346-C2CA29B32A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E9F21D11-5E95-4CC8-A578-FB53E4E70D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15985182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Скриншо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C4C9AF5C-D7A0-4879-9DE3-3848B4EE5A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553822" y="16859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608BE6CE-FB6A-41E9-ADDE-B1928E2D50A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553822" y="41162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5F091B24-7D35-4460-92D5-CFE3414C394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54179" y="16859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46" name="Picture Placeholder 3">
            <a:extLst>
              <a:ext uri="{FF2B5EF4-FFF2-40B4-BE49-F238E27FC236}">
                <a16:creationId xmlns:a16="http://schemas.microsoft.com/office/drawing/2014/main" id="{9903AE43-539E-4828-9A6F-5145FEFE582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254179" y="4116225"/>
            <a:ext cx="3384000" cy="204996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algn="ctr"/>
            <a:r>
              <a:rPr lang="ru-RU"/>
              <a:t>Скриншот / изображение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1833EE-FAC3-45BC-97A0-80DD06CC1DA0}"/>
              </a:ext>
            </a:extLst>
          </p:cNvPr>
          <p:cNvSpPr/>
          <p:nvPr/>
        </p:nvSpPr>
        <p:spPr>
          <a:xfrm>
            <a:off x="2553822" y="15208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E9E460-0638-4E96-9F95-AA4058041D73}"/>
              </a:ext>
            </a:extLst>
          </p:cNvPr>
          <p:cNvSpPr/>
          <p:nvPr/>
        </p:nvSpPr>
        <p:spPr>
          <a:xfrm>
            <a:off x="2553822" y="39511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35F986C-D6E2-4713-A778-408284BE149D}"/>
              </a:ext>
            </a:extLst>
          </p:cNvPr>
          <p:cNvGrpSpPr/>
          <p:nvPr/>
        </p:nvGrpSpPr>
        <p:grpSpPr>
          <a:xfrm rot="2700000">
            <a:off x="5755657" y="1543844"/>
            <a:ext cx="119062" cy="119062"/>
            <a:chOff x="5961318" y="1004888"/>
            <a:chExt cx="119062" cy="119062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2D2A80F-E12D-4FC0-881C-9C1A8BF63AF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55DABE9-94CE-4ED7-B69D-F98AE2C989D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0FB323E-1BDD-467F-B5E2-7F856E78D0FD}"/>
              </a:ext>
            </a:extLst>
          </p:cNvPr>
          <p:cNvGrpSpPr/>
          <p:nvPr/>
        </p:nvGrpSpPr>
        <p:grpSpPr>
          <a:xfrm rot="2700000">
            <a:off x="5755657" y="3974144"/>
            <a:ext cx="119062" cy="119062"/>
            <a:chOff x="5961318" y="1004888"/>
            <a:chExt cx="119062" cy="119062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9011DB6-FF2F-43E4-AFB5-879FBE86934F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EC76A17-3C7E-4C32-AC29-763448F87FC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5">
            <a:extLst>
              <a:ext uri="{FF2B5EF4-FFF2-40B4-BE49-F238E27FC236}">
                <a16:creationId xmlns:a16="http://schemas.microsoft.com/office/drawing/2014/main" id="{83CC5A62-94A5-4520-A95F-BDDDAFC7284C}"/>
              </a:ext>
            </a:extLst>
          </p:cNvPr>
          <p:cNvSpPr/>
          <p:nvPr/>
        </p:nvSpPr>
        <p:spPr>
          <a:xfrm>
            <a:off x="6254182" y="15208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227E4834-AE30-4B83-AF63-4C76C17EDED2}"/>
              </a:ext>
            </a:extLst>
          </p:cNvPr>
          <p:cNvSpPr/>
          <p:nvPr/>
        </p:nvSpPr>
        <p:spPr>
          <a:xfrm>
            <a:off x="6254182" y="3951125"/>
            <a:ext cx="3384000" cy="165100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/>
              </a:gs>
            </a:gsLst>
            <a:lin ang="2700000" scaled="0"/>
          </a:gradFill>
          <a:ln w="6350">
            <a:gradFill>
              <a:gsLst>
                <a:gs pos="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</a:gradFill>
          </a:ln>
          <a:effectLst>
            <a:outerShdw blurRad="127000" dist="38100" dir="5400000" algn="t" rotWithShape="0">
              <a:schemeClr val="accent1">
                <a:alpha val="5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lvl="0"/>
            <a:endParaRPr lang="en-US" sz="14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0" name="Group 22">
            <a:extLst>
              <a:ext uri="{FF2B5EF4-FFF2-40B4-BE49-F238E27FC236}">
                <a16:creationId xmlns:a16="http://schemas.microsoft.com/office/drawing/2014/main" id="{7ED1FF97-F54C-4C8B-97C6-477D2C13F035}"/>
              </a:ext>
            </a:extLst>
          </p:cNvPr>
          <p:cNvGrpSpPr/>
          <p:nvPr/>
        </p:nvGrpSpPr>
        <p:grpSpPr>
          <a:xfrm rot="2700000">
            <a:off x="9464684" y="1543844"/>
            <a:ext cx="119062" cy="119062"/>
            <a:chOff x="5961318" y="1004888"/>
            <a:chExt cx="119062" cy="119062"/>
          </a:xfrm>
        </p:grpSpPr>
        <p:cxnSp>
          <p:nvCxnSpPr>
            <p:cNvPr id="41" name="Straight Connector 20">
              <a:extLst>
                <a:ext uri="{FF2B5EF4-FFF2-40B4-BE49-F238E27FC236}">
                  <a16:creationId xmlns:a16="http://schemas.microsoft.com/office/drawing/2014/main" id="{86DBC299-2D3D-4029-99B2-0F1F79651D91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21">
              <a:extLst>
                <a:ext uri="{FF2B5EF4-FFF2-40B4-BE49-F238E27FC236}">
                  <a16:creationId xmlns:a16="http://schemas.microsoft.com/office/drawing/2014/main" id="{9005335A-4F47-47E6-BE1D-BDEB50DE8BD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19">
            <a:extLst>
              <a:ext uri="{FF2B5EF4-FFF2-40B4-BE49-F238E27FC236}">
                <a16:creationId xmlns:a16="http://schemas.microsoft.com/office/drawing/2014/main" id="{F9D563DB-0B65-4657-B33D-0543EBC1300F}"/>
              </a:ext>
            </a:extLst>
          </p:cNvPr>
          <p:cNvGrpSpPr/>
          <p:nvPr/>
        </p:nvGrpSpPr>
        <p:grpSpPr>
          <a:xfrm rot="2700000">
            <a:off x="9464684" y="3974144"/>
            <a:ext cx="119062" cy="119062"/>
            <a:chOff x="5961318" y="1004888"/>
            <a:chExt cx="119062" cy="119062"/>
          </a:xfrm>
        </p:grpSpPr>
        <p:cxnSp>
          <p:nvCxnSpPr>
            <p:cNvPr id="44" name="Straight Connector 23">
              <a:extLst>
                <a:ext uri="{FF2B5EF4-FFF2-40B4-BE49-F238E27FC236}">
                  <a16:creationId xmlns:a16="http://schemas.microsoft.com/office/drawing/2014/main" id="{A8638CD9-D4B6-4A38-849A-278156978CA3}"/>
                </a:ext>
              </a:extLst>
            </p:cNvPr>
            <p:cNvCxnSpPr>
              <a:cxnSpLocks/>
            </p:cNvCxnSpPr>
            <p:nvPr/>
          </p:nvCxnSpPr>
          <p:spPr>
            <a:xfrm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27">
              <a:extLst>
                <a:ext uri="{FF2B5EF4-FFF2-40B4-BE49-F238E27FC236}">
                  <a16:creationId xmlns:a16="http://schemas.microsoft.com/office/drawing/2014/main" id="{2D53BDD3-EDC1-4D07-A0EE-61E7E17551F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020849" y="1004888"/>
              <a:ext cx="0" cy="11906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Текст 2">
            <a:extLst>
              <a:ext uri="{FF2B5EF4-FFF2-40B4-BE49-F238E27FC236}">
                <a16:creationId xmlns:a16="http://schemas.microsoft.com/office/drawing/2014/main" id="{97F21F8B-CCA4-4FD5-82E0-BC5588A9CC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1EBA4C6A-2C23-4470-9353-B60283DFD4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7" y="341593"/>
            <a:ext cx="11164215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4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4665954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738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Рисунок 34">
            <a:extLst>
              <a:ext uri="{FF2B5EF4-FFF2-40B4-BE49-F238E27FC236}">
                <a16:creationId xmlns:a16="http://schemas.microsoft.com/office/drawing/2014/main" id="{99ED0618-5143-44F2-8C23-BC7B213F3A1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ru-RU"/>
              <a:t> </a:t>
            </a:r>
          </a:p>
        </p:txBody>
      </p:sp>
      <p:sp>
        <p:nvSpPr>
          <p:cNvPr id="8" name="Заголовок 6">
            <a:extLst>
              <a:ext uri="{FF2B5EF4-FFF2-40B4-BE49-F238E27FC236}">
                <a16:creationId xmlns:a16="http://schemas.microsoft.com/office/drawing/2014/main" id="{198EAA76-0DF1-4853-B11F-B13FE07F9D6A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D11BF3E8-752F-436E-AA8E-76D266BEDA6C}"/>
              </a:ext>
            </a:extLst>
          </p:cNvPr>
          <p:cNvSpPr/>
          <p:nvPr/>
        </p:nvSpPr>
        <p:spPr>
          <a:xfrm rot="10800000">
            <a:off x="515938" y="12027"/>
            <a:ext cx="4676548" cy="685800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D9E275F-A1D4-414C-8F67-C9D1389850CF}"/>
              </a:ext>
            </a:extLst>
          </p:cNvPr>
          <p:cNvSpPr/>
          <p:nvPr/>
        </p:nvSpPr>
        <p:spPr>
          <a:xfrm>
            <a:off x="4987292" y="-29561"/>
            <a:ext cx="392180" cy="68875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AF835CDB-456D-48ED-B10D-17FB13757F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8028" y="3658920"/>
            <a:ext cx="3114705" cy="596666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49E005-3202-4E6E-84CA-9866B69E5F65}"/>
              </a:ext>
            </a:extLst>
          </p:cNvPr>
          <p:cNvGrpSpPr/>
          <p:nvPr/>
        </p:nvGrpSpPr>
        <p:grpSpPr>
          <a:xfrm>
            <a:off x="729774" y="-29560"/>
            <a:ext cx="72000" cy="4222897"/>
            <a:chOff x="809984" y="1566120"/>
            <a:chExt cx="72000" cy="4222897"/>
          </a:xfrm>
        </p:grpSpPr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B08C6BB0-7D0E-44D8-AAFC-7B7F1302EF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039" y="1566120"/>
              <a:ext cx="0" cy="3735882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BBC46049-E468-4A38-BDF7-CBFD8CF8E8B9}"/>
                </a:ext>
              </a:extLst>
            </p:cNvPr>
            <p:cNvSpPr/>
            <p:nvPr/>
          </p:nvSpPr>
          <p:spPr>
            <a:xfrm>
              <a:off x="809984" y="5302002"/>
              <a:ext cx="72000" cy="4870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107EAD7C-F9B8-49CC-8CE5-DC4EDBAE3E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9240" y="477901"/>
            <a:ext cx="1229035" cy="391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18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135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Рисунок 41" descr="Изображение выглядит как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564D71C5-388A-46B1-A022-A98CC30150A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861"/>
            <a:ext cx="12192000" cy="6883861"/>
          </a:xfrm>
          <a:prstGeom prst="rect">
            <a:avLst/>
          </a:prstGeom>
        </p:spPr>
      </p:pic>
      <p:sp>
        <p:nvSpPr>
          <p:cNvPr id="43" name="Рисунок 47">
            <a:extLst>
              <a:ext uri="{FF2B5EF4-FFF2-40B4-BE49-F238E27FC236}">
                <a16:creationId xmlns:a16="http://schemas.microsoft.com/office/drawing/2014/main" id="{2C566835-9A48-4FF6-9F86-45AB35588A3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r>
              <a:rPr lang="ru-RU"/>
              <a:t>  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7CF5475-829A-4E61-86FB-7F653CB276DA}"/>
              </a:ext>
            </a:extLst>
          </p:cNvPr>
          <p:cNvSpPr/>
          <p:nvPr/>
        </p:nvSpPr>
        <p:spPr>
          <a:xfrm flipV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30" name="Заголовок 6">
            <a:extLst>
              <a:ext uri="{FF2B5EF4-FFF2-40B4-BE49-F238E27FC236}">
                <a16:creationId xmlns:a16="http://schemas.microsoft.com/office/drawing/2014/main" id="{381ECBF8-9B52-4F96-A8FE-FF945594FAD1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D3B9AF05-4789-460A-B166-CA0F06909144}"/>
              </a:ext>
            </a:extLst>
          </p:cNvPr>
          <p:cNvSpPr/>
          <p:nvPr/>
        </p:nvSpPr>
        <p:spPr>
          <a:xfrm>
            <a:off x="4939284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389EBDA-0356-4F15-A10E-B2CDCC03B74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430" y="476250"/>
            <a:ext cx="1235743" cy="394538"/>
          </a:xfrm>
          <a:prstGeom prst="rect">
            <a:avLst/>
          </a:prstGeom>
        </p:spPr>
      </p:pic>
      <p:sp>
        <p:nvSpPr>
          <p:cNvPr id="36" name="Заголовок 17">
            <a:extLst>
              <a:ext uri="{FF2B5EF4-FFF2-40B4-BE49-F238E27FC236}">
                <a16:creationId xmlns:a16="http://schemas.microsoft.com/office/drawing/2014/main" id="{1C16FF04-52E6-46E4-A1FE-B4CD3CBE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7024" y="3909857"/>
            <a:ext cx="4260041" cy="88907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СЕССИЯ ДЛЯ УПРАВЛЕНЧЕСКОЙ </a:t>
            </a:r>
            <a:b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КОМАНДЫ МНГ</a:t>
            </a:r>
          </a:p>
        </p:txBody>
      </p:sp>
      <p:sp>
        <p:nvSpPr>
          <p:cNvPr id="37" name="Заголовок 17">
            <a:extLst>
              <a:ext uri="{FF2B5EF4-FFF2-40B4-BE49-F238E27FC236}">
                <a16:creationId xmlns:a16="http://schemas.microsoft.com/office/drawing/2014/main" id="{F6A027C8-3B7F-4126-9989-0A658653E326}"/>
              </a:ext>
            </a:extLst>
          </p:cNvPr>
          <p:cNvSpPr txBox="1">
            <a:spLocks/>
          </p:cNvSpPr>
          <p:nvPr/>
        </p:nvSpPr>
        <p:spPr>
          <a:xfrm>
            <a:off x="1057025" y="5471382"/>
            <a:ext cx="1472300" cy="288287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ru-RU" sz="1600" b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Подзаголовок</a:t>
            </a:r>
          </a:p>
        </p:txBody>
      </p:sp>
      <p:sp>
        <p:nvSpPr>
          <p:cNvPr id="38" name="Заголовок 17">
            <a:extLst>
              <a:ext uri="{FF2B5EF4-FFF2-40B4-BE49-F238E27FC236}">
                <a16:creationId xmlns:a16="http://schemas.microsoft.com/office/drawing/2014/main" id="{25241869-D157-43D6-9DFF-9FD1BA737E1B}"/>
              </a:ext>
            </a:extLst>
          </p:cNvPr>
          <p:cNvSpPr txBox="1">
            <a:spLocks/>
          </p:cNvSpPr>
          <p:nvPr/>
        </p:nvSpPr>
        <p:spPr>
          <a:xfrm>
            <a:off x="1057025" y="5875478"/>
            <a:ext cx="1472300" cy="288287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r>
              <a:rPr lang="ru-RU" sz="1600" b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357657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F0823FB3-D590-4C37-A689-9586C1885A5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861"/>
            <a:ext cx="12192000" cy="6883861"/>
          </a:xfrm>
          <a:prstGeom prst="rect">
            <a:avLst/>
          </a:prstGeom>
        </p:spPr>
      </p:pic>
      <p:sp>
        <p:nvSpPr>
          <p:cNvPr id="47" name="Рисунок 47">
            <a:extLst>
              <a:ext uri="{FF2B5EF4-FFF2-40B4-BE49-F238E27FC236}">
                <a16:creationId xmlns:a16="http://schemas.microsoft.com/office/drawing/2014/main" id="{5BA51A45-7239-4F2F-81D9-392F94571DC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r>
              <a:rPr lang="ru-RU"/>
              <a:t>   </a:t>
            </a:r>
          </a:p>
        </p:txBody>
      </p:sp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77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Слайд think-cell" r:id="rId6" imgW="473" imgH="476" progId="TCLayout.ActiveDocument.1">
                  <p:embed/>
                </p:oleObj>
              </mc:Choice>
              <mc:Fallback>
                <p:oleObj name="Слайд think-cell" r:id="rId6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7CF5475-829A-4E61-86FB-7F653CB276DA}"/>
              </a:ext>
            </a:extLst>
          </p:cNvPr>
          <p:cNvSpPr/>
          <p:nvPr/>
        </p:nvSpPr>
        <p:spPr>
          <a:xfrm flipV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39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30" name="Заголовок 6">
            <a:extLst>
              <a:ext uri="{FF2B5EF4-FFF2-40B4-BE49-F238E27FC236}">
                <a16:creationId xmlns:a16="http://schemas.microsoft.com/office/drawing/2014/main" id="{381ECBF8-9B52-4F96-A8FE-FF945594FAD1}"/>
              </a:ext>
            </a:extLst>
          </p:cNvPr>
          <p:cNvSpPr txBox="1">
            <a:spLocks/>
          </p:cNvSpPr>
          <p:nvPr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D3B9AF05-4789-460A-B166-CA0F06909144}"/>
              </a:ext>
            </a:extLst>
          </p:cNvPr>
          <p:cNvSpPr/>
          <p:nvPr/>
        </p:nvSpPr>
        <p:spPr>
          <a:xfrm>
            <a:off x="4996396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7" name="Заголовок 17">
            <a:extLst>
              <a:ext uri="{FF2B5EF4-FFF2-40B4-BE49-F238E27FC236}">
                <a16:creationId xmlns:a16="http://schemas.microsoft.com/office/drawing/2014/main" id="{F6A027C8-3B7F-4126-9989-0A658653E326}"/>
              </a:ext>
            </a:extLst>
          </p:cNvPr>
          <p:cNvSpPr txBox="1">
            <a:spLocks/>
          </p:cNvSpPr>
          <p:nvPr/>
        </p:nvSpPr>
        <p:spPr>
          <a:xfrm>
            <a:off x="1193800" y="7124466"/>
            <a:ext cx="3498641" cy="889000"/>
          </a:xfrm>
          <a:prstGeom prst="rect">
            <a:avLst/>
          </a:prstGeom>
        </p:spPr>
        <p:txBody>
          <a:bodyPr vert="horz"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endParaRPr lang="ru-RU" sz="1600" b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3BF7E3B-53E7-42E7-978D-CBFF84A4E05E}"/>
              </a:ext>
            </a:extLst>
          </p:cNvPr>
          <p:cNvGrpSpPr/>
          <p:nvPr/>
        </p:nvGrpSpPr>
        <p:grpSpPr>
          <a:xfrm>
            <a:off x="823594" y="-25861"/>
            <a:ext cx="75181" cy="4239814"/>
            <a:chOff x="823594" y="-25861"/>
            <a:chExt cx="75181" cy="4239814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ED7735A9-5325-4877-8EAC-9A9EBA89646E}"/>
                </a:ext>
              </a:extLst>
            </p:cNvPr>
            <p:cNvSpPr/>
            <p:nvPr/>
          </p:nvSpPr>
          <p:spPr>
            <a:xfrm>
              <a:off x="823594" y="3399915"/>
              <a:ext cx="75181" cy="8140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C74674DD-D042-4CCF-ACE3-908F4967AD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1184" y="-25861"/>
              <a:ext cx="0" cy="3425777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Текст 34">
            <a:extLst>
              <a:ext uri="{FF2B5EF4-FFF2-40B4-BE49-F238E27FC236}">
                <a16:creationId xmlns:a16="http://schemas.microsoft.com/office/drawing/2014/main" id="{22180D23-8F56-44D0-82CC-E18324A24E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7276" y="4398021"/>
            <a:ext cx="3600450" cy="8001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Отправьте себе «письмо </a:t>
            </a:r>
            <a:b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 будущее» с благодарностью </a:t>
            </a:r>
            <a:b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ru-RU" sz="1600" b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за успешный запуск проекта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ED0D5109-DE61-498D-BF59-19FDBB5F88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7275" y="3397225"/>
            <a:ext cx="3600450" cy="81403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КАПСУЛА </a:t>
            </a:r>
            <a:br>
              <a:rPr lang="en-US"/>
            </a:br>
            <a:r>
              <a:rPr lang="ru-RU"/>
              <a:t>ВРЕМЕНИ</a:t>
            </a:r>
          </a:p>
        </p:txBody>
      </p:sp>
    </p:spTree>
    <p:extLst>
      <p:ext uri="{BB962C8B-B14F-4D97-AF65-F5344CB8AC3E}">
        <p14:creationId xmlns:p14="http://schemas.microsoft.com/office/powerpoint/2010/main" val="323345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08" y="486615"/>
            <a:ext cx="11166196" cy="458926"/>
          </a:xfrm>
        </p:spPr>
        <p:txBody>
          <a:bodyPr/>
          <a:lstStyle>
            <a:lvl1pPr>
              <a:defRPr>
                <a:latin typeface="+mj-lt"/>
                <a:ea typeface="Roboto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482320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Futuristic networking technology remix with woman using virtual screen Free Photo">
            <a:extLst>
              <a:ext uri="{FF2B5EF4-FFF2-40B4-BE49-F238E27FC236}">
                <a16:creationId xmlns:a16="http://schemas.microsoft.com/office/drawing/2014/main" id="{41C171A3-B448-4837-ACE0-34A970769E5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490"/>
          <a:stretch/>
        </p:blipFill>
        <p:spPr bwMode="auto">
          <a:xfrm>
            <a:off x="2" y="-24263"/>
            <a:ext cx="6999514" cy="690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Futuristic networking technology remix with woman using virtual screen Free Photo">
            <a:extLst>
              <a:ext uri="{FF2B5EF4-FFF2-40B4-BE49-F238E27FC236}">
                <a16:creationId xmlns:a16="http://schemas.microsoft.com/office/drawing/2014/main" id="{8E75F285-D4D3-4D79-A5A0-231E3793F1D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490"/>
          <a:stretch/>
        </p:blipFill>
        <p:spPr bwMode="auto">
          <a:xfrm>
            <a:off x="5192486" y="-24263"/>
            <a:ext cx="6999514" cy="690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 userDrawn="1"/>
        </p:nvSpPr>
        <p:spPr>
          <a:xfrm rot="10800000" flipH="1">
            <a:off x="515938" y="-25861"/>
            <a:ext cx="4676548" cy="6883861"/>
          </a:xfrm>
          <a:prstGeom prst="rect">
            <a:avLst/>
          </a:prstGeom>
          <a:gradFill>
            <a:gsLst>
              <a:gs pos="100000">
                <a:schemeClr val="tx2"/>
              </a:gs>
              <a:gs pos="41000">
                <a:srgbClr val="103177"/>
              </a:gs>
              <a:gs pos="0">
                <a:schemeClr val="accent1"/>
              </a:gs>
            </a:gsLst>
            <a:lin ang="66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4" name="Заголовок 6">
            <a:extLst>
              <a:ext uri="{FF2B5EF4-FFF2-40B4-BE49-F238E27FC236}">
                <a16:creationId xmlns:a16="http://schemas.microsoft.com/office/drawing/2014/main" id="{4C4B5BD4-31A6-4920-8F19-605A3B8FC52E}"/>
              </a:ext>
            </a:extLst>
          </p:cNvPr>
          <p:cNvSpPr txBox="1">
            <a:spLocks/>
          </p:cNvSpPr>
          <p:nvPr userDrawn="1"/>
        </p:nvSpPr>
        <p:spPr>
          <a:xfrm>
            <a:off x="1086430" y="4025666"/>
            <a:ext cx="3884613" cy="8890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002266"/>
                </a:solidFill>
                <a:latin typeface="Segoe UI" panose="020B0502040204020203" pitchFamily="34" charset="0"/>
                <a:ea typeface="Roboto" pitchFamily="2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Roboto" pitchFamily="2" charset="0"/>
              <a:cs typeface="Segoe UI" panose="020B05020402040202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 userDrawn="1"/>
        </p:nvSpPr>
        <p:spPr>
          <a:xfrm>
            <a:off x="4939284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D0B8B00-2998-4932-8CA9-C74A610A36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430" y="476250"/>
            <a:ext cx="1235743" cy="394538"/>
          </a:xfrm>
          <a:prstGeom prst="rect">
            <a:avLst/>
          </a:prstGeom>
        </p:spPr>
      </p:pic>
      <p:sp>
        <p:nvSpPr>
          <p:cNvPr id="28" name="Подзаголовок 2">
            <a:extLst>
              <a:ext uri="{FF2B5EF4-FFF2-40B4-BE49-F238E27FC236}">
                <a16:creationId xmlns:a16="http://schemas.microsoft.com/office/drawing/2014/main" id="{4095257C-24AB-4BAC-BCFF-6625E4200E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8422" y="4676394"/>
            <a:ext cx="3609703" cy="10517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 baseline="0">
                <a:solidFill>
                  <a:schemeClr val="bg1"/>
                </a:solidFill>
                <a:latin typeface="+mn-lt"/>
                <a:ea typeface="Roboto Light" panose="02000000000000000000" pitchFamily="2" charset="0"/>
                <a:cs typeface="Segoe UI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Подзаголовок</a:t>
            </a:r>
          </a:p>
        </p:txBody>
      </p:sp>
      <p:sp>
        <p:nvSpPr>
          <p:cNvPr id="29" name="Текст 31">
            <a:extLst>
              <a:ext uri="{FF2B5EF4-FFF2-40B4-BE49-F238E27FC236}">
                <a16:creationId xmlns:a16="http://schemas.microsoft.com/office/drawing/2014/main" id="{2163AA49-F29C-4B23-805B-C4BBFA1114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8422" y="5924363"/>
            <a:ext cx="3609703" cy="23439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Подготовлено для</a:t>
            </a:r>
          </a:p>
        </p:txBody>
      </p:sp>
      <p:sp>
        <p:nvSpPr>
          <p:cNvPr id="30" name="Текст 31">
            <a:extLst>
              <a:ext uri="{FF2B5EF4-FFF2-40B4-BE49-F238E27FC236}">
                <a16:creationId xmlns:a16="http://schemas.microsoft.com/office/drawing/2014/main" id="{D75E8106-A6DA-43E7-8676-6FB1D02FAB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8422" y="6193304"/>
            <a:ext cx="3609703" cy="23439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ru-RU"/>
              <a:t>Дата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422" y="2263777"/>
            <a:ext cx="3609703" cy="2181606"/>
          </a:xfrm>
          <a:prstGeom prst="rect">
            <a:avLst/>
          </a:prstGeom>
        </p:spPr>
        <p:txBody>
          <a:bodyPr anchor="b"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78562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жны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741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EA2B4BF-8AFF-4AAA-8561-5A9F4F71B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10145"/>
            <a:ext cx="11413757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45405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Рисунок 38" descr="Изображение выглядит как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1A777E9F-FB5E-4485-826C-2D12C8FABED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556" y="-34653"/>
            <a:ext cx="12206537" cy="6901893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94D65BB-DB13-4E56-AFF0-FD03DA88627C}"/>
              </a:ext>
            </a:extLst>
          </p:cNvPr>
          <p:cNvSpPr/>
          <p:nvPr/>
        </p:nvSpPr>
        <p:spPr>
          <a:xfrm>
            <a:off x="-57144" y="-31861"/>
            <a:ext cx="12249144" cy="6883861"/>
          </a:xfrm>
          <a:prstGeom prst="rect">
            <a:avLst/>
          </a:prstGeom>
          <a:gradFill>
            <a:gsLst>
              <a:gs pos="0">
                <a:schemeClr val="accent1">
                  <a:alpha val="33000"/>
                </a:schemeClr>
              </a:gs>
              <a:gs pos="100000">
                <a:schemeClr val="accent1">
                  <a:alpha val="3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/>
        </p:nvSpPr>
        <p:spPr>
          <a:xfrm rot="10800000">
            <a:off x="515938" y="-31862"/>
            <a:ext cx="4676548" cy="690189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/>
        </p:nvSpPr>
        <p:spPr>
          <a:xfrm>
            <a:off x="4987292" y="-29561"/>
            <a:ext cx="392180" cy="68875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8028" y="3658920"/>
            <a:ext cx="3114705" cy="596666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6DF4B6A3-23D5-445C-9DA2-1E5102F57CDA}"/>
              </a:ext>
            </a:extLst>
          </p:cNvPr>
          <p:cNvGrpSpPr/>
          <p:nvPr/>
        </p:nvGrpSpPr>
        <p:grpSpPr>
          <a:xfrm>
            <a:off x="729774" y="-29560"/>
            <a:ext cx="72000" cy="4222897"/>
            <a:chOff x="809984" y="1566120"/>
            <a:chExt cx="72000" cy="4222897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C0438759-CBAE-40FB-B81E-142BB94238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039" y="1566120"/>
              <a:ext cx="0" cy="3735882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12361A9A-D162-479E-867C-170832003642}"/>
                </a:ext>
              </a:extLst>
            </p:cNvPr>
            <p:cNvSpPr/>
            <p:nvPr/>
          </p:nvSpPr>
          <p:spPr>
            <a:xfrm>
              <a:off x="809984" y="5302002"/>
              <a:ext cx="72000" cy="4870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37" name="Рисунок 36">
            <a:extLst>
              <a:ext uri="{FF2B5EF4-FFF2-40B4-BE49-F238E27FC236}">
                <a16:creationId xmlns:a16="http://schemas.microsoft.com/office/drawing/2014/main" id="{0E78F355-FFF4-4E75-B9CC-FF1F0172A4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816" y="-31400"/>
            <a:ext cx="12188165" cy="68834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9261180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>
            <a:extLst>
              <a:ext uri="{FF2B5EF4-FFF2-40B4-BE49-F238E27FC236}">
                <a16:creationId xmlns:a16="http://schemas.microsoft.com/office/drawing/2014/main" id="{B6DF3C2F-6431-44B7-9E0F-AA8B634E28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88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27" name="Объект 26" hidden="1">
                        <a:extLst>
                          <a:ext uri="{FF2B5EF4-FFF2-40B4-BE49-F238E27FC236}">
                            <a16:creationId xmlns:a16="http://schemas.microsoft.com/office/drawing/2014/main" id="{B6DF3C2F-6431-44B7-9E0F-AA8B634E2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0714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2664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1" name="Group 4"/>
          <p:cNvGrpSpPr>
            <a:grpSpLocks noChangeAspect="1"/>
          </p:cNvGrpSpPr>
          <p:nvPr userDrawn="1"/>
        </p:nvGrpSpPr>
        <p:grpSpPr bwMode="auto">
          <a:xfrm>
            <a:off x="0" y="-15875"/>
            <a:ext cx="12201526" cy="6873876"/>
            <a:chOff x="0" y="-10"/>
            <a:chExt cx="7686" cy="4330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0" y="0"/>
              <a:ext cx="1363" cy="1362"/>
            </a:xfrm>
            <a:custGeom>
              <a:avLst/>
              <a:gdLst>
                <a:gd name="T0" fmla="*/ 0 w 1363"/>
                <a:gd name="T1" fmla="*/ 1362 h 1362"/>
                <a:gd name="T2" fmla="*/ 1363 w 1363"/>
                <a:gd name="T3" fmla="*/ 0 h 1362"/>
                <a:gd name="T4" fmla="*/ 0 w 1363"/>
                <a:gd name="T5" fmla="*/ 0 h 1362"/>
                <a:gd name="T6" fmla="*/ 0 w 1363"/>
                <a:gd name="T7" fmla="*/ 1362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63" h="1362">
                  <a:moveTo>
                    <a:pt x="0" y="1362"/>
                  </a:moveTo>
                  <a:lnTo>
                    <a:pt x="1363" y="0"/>
                  </a:lnTo>
                  <a:lnTo>
                    <a:pt x="0" y="0"/>
                  </a:lnTo>
                  <a:lnTo>
                    <a:pt x="0" y="1362"/>
                  </a:lnTo>
                  <a:close/>
                </a:path>
              </a:pathLst>
            </a:custGeom>
            <a:solidFill>
              <a:srgbClr val="ECF1F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3353" y="-10"/>
              <a:ext cx="4333" cy="4330"/>
            </a:xfrm>
            <a:custGeom>
              <a:avLst/>
              <a:gdLst>
                <a:gd name="T0" fmla="*/ 0 w 4316"/>
                <a:gd name="T1" fmla="*/ 4313 h 4313"/>
                <a:gd name="T2" fmla="*/ 4316 w 4316"/>
                <a:gd name="T3" fmla="*/ 0 h 4313"/>
                <a:gd name="T4" fmla="*/ 4307 w 4316"/>
                <a:gd name="T5" fmla="*/ 4313 h 4313"/>
                <a:gd name="T6" fmla="*/ 0 w 4316"/>
                <a:gd name="T7" fmla="*/ 4313 h 4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16" h="4313">
                  <a:moveTo>
                    <a:pt x="0" y="4313"/>
                  </a:moveTo>
                  <a:lnTo>
                    <a:pt x="4316" y="0"/>
                  </a:lnTo>
                  <a:lnTo>
                    <a:pt x="4307" y="4313"/>
                  </a:lnTo>
                  <a:lnTo>
                    <a:pt x="0" y="4313"/>
                  </a:lnTo>
                  <a:close/>
                </a:path>
              </a:pathLst>
            </a:custGeom>
            <a:solidFill>
              <a:srgbClr val="ECF1F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5938" y="565246"/>
            <a:ext cx="10515600" cy="2852737"/>
          </a:xfrm>
        </p:spPr>
        <p:txBody>
          <a:bodyPr anchor="b">
            <a:normAutofit/>
          </a:bodyPr>
          <a:lstStyle>
            <a:lvl1pPr>
              <a:defRPr sz="3000">
                <a:latin typeface="Segoe UI" panose="020B0502040204020203" pitchFamily="34" charset="0"/>
                <a:ea typeface="Roboto Light" panose="02000000000000000000" pitchFamily="2" charset="0"/>
                <a:cs typeface="Segoe UI" panose="020B0502040204020203" pitchFamily="34" charset="0"/>
              </a:defRPr>
            </a:lvl1pPr>
          </a:lstStyle>
          <a:p>
            <a:r>
              <a:rPr lang="ru-RU"/>
              <a:t>Заголовок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15938" y="3579409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rgbClr val="002266"/>
                </a:solidFill>
                <a:latin typeface="+mj-lt"/>
                <a:cs typeface="Segoe UI Light" panose="020B050204020402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Подзаголовок</a:t>
            </a:r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0" y="3429000"/>
            <a:ext cx="11676063" cy="0"/>
          </a:xfrm>
          <a:prstGeom prst="line">
            <a:avLst/>
          </a:prstGeom>
          <a:ln w="19050">
            <a:solidFill>
              <a:srgbClr val="AAC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B0D26A39-9D88-474D-B180-A498440C0650}"/>
              </a:ext>
            </a:extLst>
          </p:cNvPr>
          <p:cNvSpPr/>
          <p:nvPr userDrawn="1"/>
        </p:nvSpPr>
        <p:spPr>
          <a:xfrm>
            <a:off x="12192000" y="-25400"/>
            <a:ext cx="2777067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зделительный слайд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1-го уровн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екомендуемая высота заголовка — не более 3 стро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499879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91457"/>
              </p:ext>
            </p:extLst>
          </p:nvPr>
        </p:nvGraphicFramePr>
        <p:xfrm>
          <a:off x="1591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9" y="156027"/>
            <a:ext cx="11166196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000"/>
            </a:lvl1pPr>
          </a:lstStyle>
          <a:p>
            <a:r>
              <a:rPr lang="ru-RU"/>
              <a:t>Образец заголовка в 1 строку</a:t>
            </a:r>
          </a:p>
        </p:txBody>
      </p:sp>
    </p:spTree>
    <p:extLst>
      <p:ext uri="{BB962C8B-B14F-4D97-AF65-F5344CB8AC3E}">
        <p14:creationId xmlns:p14="http://schemas.microsoft.com/office/powerpoint/2010/main" val="5378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94D65BB-DB13-4E56-AFF0-FD03DA88627C}"/>
              </a:ext>
            </a:extLst>
          </p:cNvPr>
          <p:cNvSpPr/>
          <p:nvPr/>
        </p:nvSpPr>
        <p:spPr>
          <a:xfrm>
            <a:off x="-57144" y="-31861"/>
            <a:ext cx="12249144" cy="6883861"/>
          </a:xfrm>
          <a:prstGeom prst="rect">
            <a:avLst/>
          </a:prstGeom>
          <a:gradFill>
            <a:gsLst>
              <a:gs pos="0">
                <a:schemeClr val="accent1">
                  <a:alpha val="33000"/>
                </a:schemeClr>
              </a:gs>
              <a:gs pos="100000">
                <a:schemeClr val="accent1">
                  <a:alpha val="3000"/>
                </a:schemeClr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7" name="Рисунок 36">
            <a:extLst>
              <a:ext uri="{FF2B5EF4-FFF2-40B4-BE49-F238E27FC236}">
                <a16:creationId xmlns:a16="http://schemas.microsoft.com/office/drawing/2014/main" id="{0E78F355-FFF4-4E75-B9CC-FF1F0172A4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7150" y="-31750"/>
            <a:ext cx="12249150" cy="68834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98FE304-0242-440C-8642-8EED473252F7}"/>
              </a:ext>
            </a:extLst>
          </p:cNvPr>
          <p:cNvSpPr/>
          <p:nvPr/>
        </p:nvSpPr>
        <p:spPr>
          <a:xfrm rot="10800000">
            <a:off x="515938" y="-31862"/>
            <a:ext cx="4676548" cy="690189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25214B3-3E65-480A-88FA-3952281DD980}"/>
              </a:ext>
            </a:extLst>
          </p:cNvPr>
          <p:cNvSpPr/>
          <p:nvPr/>
        </p:nvSpPr>
        <p:spPr>
          <a:xfrm>
            <a:off x="4987292" y="-29561"/>
            <a:ext cx="392180" cy="68875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C290CD34-D01A-4190-ABE2-A22A7933A2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28028" y="3658920"/>
            <a:ext cx="3114705" cy="596666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6DF4B6A3-23D5-445C-9DA2-1E5102F57CDA}"/>
              </a:ext>
            </a:extLst>
          </p:cNvPr>
          <p:cNvGrpSpPr/>
          <p:nvPr/>
        </p:nvGrpSpPr>
        <p:grpSpPr>
          <a:xfrm>
            <a:off x="729774" y="-29560"/>
            <a:ext cx="72000" cy="4222897"/>
            <a:chOff x="809984" y="1566120"/>
            <a:chExt cx="72000" cy="4222897"/>
          </a:xfrm>
        </p:grpSpPr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C0438759-CBAE-40FB-B81E-142BB94238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039" y="1566120"/>
              <a:ext cx="0" cy="3735882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12361A9A-D162-479E-867C-170832003642}"/>
                </a:ext>
              </a:extLst>
            </p:cNvPr>
            <p:cNvSpPr/>
            <p:nvPr/>
          </p:nvSpPr>
          <p:spPr>
            <a:xfrm>
              <a:off x="809984" y="5302002"/>
              <a:ext cx="72000" cy="48701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0252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766996F0-AFD2-4B33-988F-6E66331211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5861"/>
            <a:ext cx="12192000" cy="6883861"/>
          </a:xfrm>
          <a:prstGeom prst="rect">
            <a:avLst/>
          </a:prstGeom>
        </p:spPr>
      </p:pic>
      <p:sp>
        <p:nvSpPr>
          <p:cNvPr id="10" name="Рисунок 47">
            <a:extLst>
              <a:ext uri="{FF2B5EF4-FFF2-40B4-BE49-F238E27FC236}">
                <a16:creationId xmlns:a16="http://schemas.microsoft.com/office/drawing/2014/main" id="{48D90F6E-FB8D-43B0-A95E-1D262C02FDB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25861"/>
            <a:ext cx="12192000" cy="6883861"/>
          </a:xfrm>
          <a:prstGeom prst="rect">
            <a:avLst/>
          </a:prstGeom>
          <a:noFill/>
        </p:spPr>
        <p:txBody>
          <a:bodyPr/>
          <a:lstStyle>
            <a:lvl1pPr>
              <a:defRPr/>
            </a:lvl1pPr>
          </a:lstStyle>
          <a:p>
            <a:r>
              <a:rPr lang="ru-RU"/>
              <a:t>  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8E61392-C9EC-4A3C-840D-C134A885CAA1}"/>
              </a:ext>
            </a:extLst>
          </p:cNvPr>
          <p:cNvSpPr/>
          <p:nvPr/>
        </p:nvSpPr>
        <p:spPr>
          <a:xfrm>
            <a:off x="7891850" y="-25861"/>
            <a:ext cx="3784213" cy="6883861"/>
          </a:xfrm>
          <a:prstGeom prst="rect">
            <a:avLst/>
          </a:prstGeom>
          <a:gradFill>
            <a:gsLst>
              <a:gs pos="41000">
                <a:schemeClr val="tx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  <a:effectLst>
            <a:outerShdw blurRad="127000" dist="1016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0803B1-3460-4C4E-A97D-535B93C72777}"/>
              </a:ext>
            </a:extLst>
          </p:cNvPr>
          <p:cNvSpPr/>
          <p:nvPr/>
        </p:nvSpPr>
        <p:spPr>
          <a:xfrm>
            <a:off x="7706788" y="-25861"/>
            <a:ext cx="392180" cy="6883861"/>
          </a:xfrm>
          <a:prstGeom prst="rect">
            <a:avLst/>
          </a:prstGeom>
          <a:gradFill>
            <a:gsLst>
              <a:gs pos="0">
                <a:schemeClr val="accent2">
                  <a:lumMod val="75000"/>
                  <a:alpha val="24000"/>
                </a:schemeClr>
              </a:gs>
              <a:gs pos="100000">
                <a:schemeClr val="accent2">
                  <a:lumMod val="75000"/>
                  <a:alpha val="5000"/>
                </a:schemeClr>
              </a:gs>
            </a:gsLst>
            <a:lin ang="3360000" scaled="0"/>
          </a:gradFill>
          <a:ln>
            <a:noFill/>
          </a:ln>
          <a:effectLst>
            <a:outerShdw blurRad="88900" dist="152400" dir="8100000" algn="tr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0CC394C-6D86-42AF-B7C0-B959869ADA4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2342" y="476250"/>
            <a:ext cx="1235743" cy="39453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6823997-05CF-4A22-A4DE-1DA7EF192CFF}"/>
              </a:ext>
            </a:extLst>
          </p:cNvPr>
          <p:cNvSpPr txBox="1"/>
          <p:nvPr/>
        </p:nvSpPr>
        <p:spPr>
          <a:xfrm>
            <a:off x="8359937" y="5397960"/>
            <a:ext cx="32400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тел./факс</a:t>
            </a:r>
            <a:r>
              <a:rPr lang="ru-RU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:</a:t>
            </a:r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 </a:t>
            </a:r>
            <a:r>
              <a:rPr lang="pt-BR" sz="1200">
                <a:solidFill>
                  <a:schemeClr val="bg1"/>
                </a:solidFill>
                <a:latin typeface="+mj-lt"/>
                <a:ea typeface="Roboto Light" panose="02000000000000000000" pitchFamily="2" charset="0"/>
                <a:cs typeface="Segoe UI Semibold" panose="020B0702040204020203" pitchFamily="34" charset="0"/>
              </a:rPr>
              <a:t>+7 (812) 677 50 88</a:t>
            </a:r>
          </a:p>
          <a:p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e-mail: </a:t>
            </a:r>
            <a:r>
              <a:rPr lang="pt-BR" sz="1200">
                <a:solidFill>
                  <a:schemeClr val="bg1"/>
                </a:solidFill>
                <a:latin typeface="+mj-lt"/>
                <a:ea typeface="Roboto Light" panose="02000000000000000000" pitchFamily="2" charset="0"/>
              </a:rPr>
              <a:t>info@bitobe.ru</a:t>
            </a:r>
          </a:p>
          <a:p>
            <a:endParaRPr lang="pt-BR" sz="1200">
              <a:solidFill>
                <a:schemeClr val="bg1"/>
              </a:solidFill>
              <a:latin typeface="+mj-lt"/>
              <a:ea typeface="Roboto" pitchFamily="2" charset="0"/>
            </a:endParaRPr>
          </a:p>
          <a:p>
            <a:endParaRPr lang="pt-BR" sz="1200">
              <a:solidFill>
                <a:schemeClr val="bg1"/>
              </a:solidFill>
              <a:latin typeface="+mj-lt"/>
              <a:ea typeface="Roboto" pitchFamily="2" charset="0"/>
            </a:endParaRPr>
          </a:p>
          <a:p>
            <a:r>
              <a:rPr lang="pt-BR" sz="1200">
                <a:solidFill>
                  <a:schemeClr val="bg1"/>
                </a:solidFill>
                <a:latin typeface="Segoe UI Semibold" panose="020B0702040204020203" pitchFamily="34" charset="0"/>
                <a:ea typeface="Roboto" pitchFamily="2" charset="0"/>
                <a:cs typeface="Segoe UI Semibold" panose="020B0702040204020203" pitchFamily="34" charset="0"/>
              </a:rPr>
              <a:t>www.bitobe.ru</a:t>
            </a:r>
            <a:endParaRPr lang="ru-RU" sz="1100">
              <a:solidFill>
                <a:schemeClr val="bg1"/>
              </a:solidFill>
              <a:latin typeface="Segoe UI Semibold" panose="020B0702040204020203" pitchFamily="34" charset="0"/>
              <a:ea typeface="Roboto" pitchFamily="2" charset="0"/>
              <a:cs typeface="Segoe UI Semibold" panose="020B0702040204020203" pitchFamily="34" charset="0"/>
            </a:endParaRP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2DC6C9A3-0B60-4766-9C80-8C000A8054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1837" y="1358900"/>
            <a:ext cx="3240088" cy="20701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ITOBE </a:t>
            </a:r>
            <a:r>
              <a:rPr lang="en-US" sz="2000">
                <a:solidFill>
                  <a:schemeClr val="bg1"/>
                </a:solidFill>
                <a:latin typeface="+mj-lt"/>
              </a:rPr>
              <a:t>—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Best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Impulse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TO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Business </a:t>
            </a:r>
            <a:br>
              <a:rPr lang="en-US" sz="2000">
                <a:solidFill>
                  <a:schemeClr val="bg1"/>
                </a:solidFill>
                <a:latin typeface="+mj-lt"/>
              </a:rPr>
            </a:br>
            <a:r>
              <a:rPr lang="en-US" sz="2000">
                <a:solidFill>
                  <a:schemeClr val="bg1"/>
                </a:solidFill>
                <a:latin typeface="+mj-lt"/>
              </a:rPr>
              <a:t>Evolution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6298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арточки с фото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C3C5AD9E-7814-447B-802F-5620E88EA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003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C3C5AD9E-7814-447B-802F-5620E88EA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3565FC92-711A-4048-B528-B8C84AC034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24BDE2A-2DB5-4B00-8433-0D76BE7E4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48" y="156023"/>
            <a:ext cx="10410152" cy="536128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 sz="2200" b="0">
                <a:latin typeface="+mj-lt"/>
              </a:defRPr>
            </a:lvl1pPr>
          </a:lstStyle>
          <a:p>
            <a:r>
              <a:rPr lang="ru-RU"/>
              <a:t>Образец заголовка в 1 строку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BBE47E41-8AB8-4B38-8695-8B96C57DF3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175" y="6488785"/>
            <a:ext cx="6664325" cy="165100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1000" b="0" i="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Введите текст сноски</a:t>
            </a:r>
          </a:p>
        </p:txBody>
      </p:sp>
      <p:sp>
        <p:nvSpPr>
          <p:cNvPr id="14" name="Рисунок 2">
            <a:extLst>
              <a:ext uri="{FF2B5EF4-FFF2-40B4-BE49-F238E27FC236}">
                <a16:creationId xmlns:a16="http://schemas.microsoft.com/office/drawing/2014/main" id="{57886857-535D-4420-A6B6-EDBB0B70058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5938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5" name="Рисунок 2">
            <a:extLst>
              <a:ext uri="{FF2B5EF4-FFF2-40B4-BE49-F238E27FC236}">
                <a16:creationId xmlns:a16="http://schemas.microsoft.com/office/drawing/2014/main" id="{1C599428-3D74-450F-B81F-31F71DA855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86409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198E06C4-7793-4291-B77A-A146441FA79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56880" y="1089025"/>
            <a:ext cx="3619182" cy="5219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</a:ln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2913239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19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tags" Target="../tags/tag18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vmlDrawing" Target="../drawings/vmlDrawing10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tags" Target="../tags/tag44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vmlDrawing" Target="../drawings/vmlDrawing25.v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oleObject" Target="../embeddings/oleObject25.bin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theme" Target="../theme/theme3.xml"/><Relationship Id="rId30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88C141DA-AB36-4FD1-8044-25F5CF20B87E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62088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21" imgW="395" imgH="396" progId="TCLayout.ActiveDocument.1">
                  <p:embed/>
                </p:oleObj>
              </mc:Choice>
              <mc:Fallback>
                <p:oleObj name="Слайд think-cell" r:id="rId21" imgW="395" imgH="39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88C141DA-AB36-4FD1-8044-25F5CF20B8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3D7DC93-2059-4CBC-A5FF-27B890C57D37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8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8F4AD1B-14D0-4B46-91D0-74AE1A6B8C8D}"/>
              </a:ext>
            </a:extLst>
          </p:cNvPr>
          <p:cNvSpPr/>
          <p:nvPr/>
        </p:nvSpPr>
        <p:spPr>
          <a:xfrm>
            <a:off x="11033760" y="6493884"/>
            <a:ext cx="65444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r"/>
            <a:fld id="{AF528B6D-1001-487C-8FFE-85B114390330}" type="slidenum">
              <a:rPr lang="ru-RU" sz="1200" b="0" i="0" smtClean="0">
                <a:solidFill>
                  <a:schemeClr val="accent2"/>
                </a:solidFill>
              </a:rPr>
              <a:pPr algn="r"/>
              <a:t>‹#›</a:t>
            </a:fld>
            <a:endParaRPr lang="ru-RU" sz="1200" b="0" i="0">
              <a:solidFill>
                <a:schemeClr val="accent2"/>
              </a:solidFill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720690E-B1CA-4547-B0F5-076477556EF2}"/>
              </a:ext>
            </a:extLst>
          </p:cNvPr>
          <p:cNvGrpSpPr/>
          <p:nvPr/>
        </p:nvGrpSpPr>
        <p:grpSpPr>
          <a:xfrm>
            <a:off x="10598745" y="6532558"/>
            <a:ext cx="110267" cy="112358"/>
            <a:chOff x="1304925" y="4310063"/>
            <a:chExt cx="585788" cy="596901"/>
          </a:xfrm>
          <a:solidFill>
            <a:schemeClr val="accent3"/>
          </a:solidFill>
        </p:grpSpPr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C3653848-F691-4B73-A625-996339CB2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4925" y="4746626"/>
              <a:ext cx="163513" cy="1603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 baseline="-2500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79C1889-4AD7-4F64-8848-9957A6C01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925" y="4525963"/>
              <a:ext cx="381000" cy="381000"/>
            </a:xfrm>
            <a:custGeom>
              <a:avLst/>
              <a:gdLst>
                <a:gd name="T0" fmla="*/ 240 w 240"/>
                <a:gd name="T1" fmla="*/ 0 h 240"/>
                <a:gd name="T2" fmla="*/ 240 w 240"/>
                <a:gd name="T3" fmla="*/ 240 h 240"/>
                <a:gd name="T4" fmla="*/ 139 w 240"/>
                <a:gd name="T5" fmla="*/ 240 h 240"/>
                <a:gd name="T6" fmla="*/ 139 w 240"/>
                <a:gd name="T7" fmla="*/ 103 h 240"/>
                <a:gd name="T8" fmla="*/ 0 w 240"/>
                <a:gd name="T9" fmla="*/ 103 h 240"/>
                <a:gd name="T10" fmla="*/ 0 w 240"/>
                <a:gd name="T11" fmla="*/ 0 h 240"/>
                <a:gd name="T12" fmla="*/ 240 w 240"/>
                <a:gd name="T13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240">
                  <a:moveTo>
                    <a:pt x="240" y="0"/>
                  </a:moveTo>
                  <a:lnTo>
                    <a:pt x="240" y="240"/>
                  </a:lnTo>
                  <a:lnTo>
                    <a:pt x="139" y="240"/>
                  </a:lnTo>
                  <a:lnTo>
                    <a:pt x="139" y="103"/>
                  </a:lnTo>
                  <a:lnTo>
                    <a:pt x="0" y="103"/>
                  </a:lnTo>
                  <a:lnTo>
                    <a:pt x="0" y="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baseline="-2500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29C3C2D-034E-4BBB-9B64-17EB4E13D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925" y="4310063"/>
              <a:ext cx="585788" cy="596900"/>
            </a:xfrm>
            <a:custGeom>
              <a:avLst/>
              <a:gdLst>
                <a:gd name="T0" fmla="*/ 369 w 369"/>
                <a:gd name="T1" fmla="*/ 0 h 376"/>
                <a:gd name="T2" fmla="*/ 369 w 369"/>
                <a:gd name="T3" fmla="*/ 376 h 376"/>
                <a:gd name="T4" fmla="*/ 276 w 369"/>
                <a:gd name="T5" fmla="*/ 376 h 376"/>
                <a:gd name="T6" fmla="*/ 276 w 369"/>
                <a:gd name="T7" fmla="*/ 100 h 376"/>
                <a:gd name="T8" fmla="*/ 0 w 369"/>
                <a:gd name="T9" fmla="*/ 100 h 376"/>
                <a:gd name="T10" fmla="*/ 0 w 369"/>
                <a:gd name="T11" fmla="*/ 0 h 376"/>
                <a:gd name="T12" fmla="*/ 369 w 369"/>
                <a:gd name="T13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9" h="376">
                  <a:moveTo>
                    <a:pt x="369" y="0"/>
                  </a:moveTo>
                  <a:lnTo>
                    <a:pt x="369" y="376"/>
                  </a:lnTo>
                  <a:lnTo>
                    <a:pt x="276" y="376"/>
                  </a:lnTo>
                  <a:lnTo>
                    <a:pt x="276" y="100"/>
                  </a:lnTo>
                  <a:lnTo>
                    <a:pt x="0" y="100"/>
                  </a:lnTo>
                  <a:lnTo>
                    <a:pt x="0" y="0"/>
                  </a:lnTo>
                  <a:lnTo>
                    <a:pt x="36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baseline="-2500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B874E45-72E9-46DF-8FD1-92A4DC786CF4}"/>
              </a:ext>
            </a:extLst>
          </p:cNvPr>
          <p:cNvSpPr/>
          <p:nvPr/>
        </p:nvSpPr>
        <p:spPr>
          <a:xfrm>
            <a:off x="10605135" y="6493884"/>
            <a:ext cx="65444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r"/>
            <a:r>
              <a:rPr lang="en-US" sz="1200">
                <a:solidFill>
                  <a:schemeClr val="accent2"/>
                </a:solidFill>
                <a:latin typeface="+mj-lt"/>
                <a:ea typeface="Roboto Light" panose="02000000000000000000" pitchFamily="2" charset="0"/>
              </a:rPr>
              <a:t>BITOBE</a:t>
            </a:r>
            <a:endParaRPr lang="ru-RU" sz="1200" b="0" i="0">
              <a:solidFill>
                <a:schemeClr val="accent2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A688EEB-7A01-4C8E-A075-DD06F3555049}"/>
              </a:ext>
            </a:extLst>
          </p:cNvPr>
          <p:cNvCxnSpPr>
            <a:cxnSpLocks/>
          </p:cNvCxnSpPr>
          <p:nvPr/>
        </p:nvCxnSpPr>
        <p:spPr>
          <a:xfrm>
            <a:off x="11402219" y="6509936"/>
            <a:ext cx="0" cy="157605"/>
          </a:xfrm>
          <a:prstGeom prst="line">
            <a:avLst/>
          </a:prstGeom>
          <a:ln>
            <a:solidFill>
              <a:schemeClr val="accent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0110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  <p:sldLayoutId id="2147484574" r:id="rId2"/>
    <p:sldLayoutId id="2147484575" r:id="rId3"/>
    <p:sldLayoutId id="2147484576" r:id="rId4"/>
    <p:sldLayoutId id="2147484577" r:id="rId5"/>
    <p:sldLayoutId id="2147484578" r:id="rId6"/>
    <p:sldLayoutId id="2147484579" r:id="rId7"/>
    <p:sldLayoutId id="2147484580" r:id="rId8"/>
    <p:sldLayoutId id="2147484581" r:id="rId9"/>
    <p:sldLayoutId id="2147484582" r:id="rId10"/>
    <p:sldLayoutId id="2147484583" r:id="rId11"/>
    <p:sldLayoutId id="2147484584" r:id="rId12"/>
    <p:sldLayoutId id="2147484585" r:id="rId13"/>
    <p:sldLayoutId id="2147484586" r:id="rId14"/>
    <p:sldLayoutId id="2147484587" r:id="rId15"/>
    <p:sldLayoutId id="2147484588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2266"/>
          </a:solidFill>
          <a:latin typeface="Segoe UI" panose="020B0502040204020203" pitchFamily="34" charset="0"/>
          <a:ea typeface="Roboto" pitchFamily="2" charset="0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8" orient="horz" pos="397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88C141DA-AB36-4FD1-8044-25F5CF20B87E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1412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Слайд think-cell" r:id="rId25" imgW="395" imgH="396" progId="TCLayout.ActiveDocument.1">
                  <p:embed/>
                </p:oleObj>
              </mc:Choice>
              <mc:Fallback>
                <p:oleObj name="Слайд think-cell" r:id="rId25" imgW="395" imgH="39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88C141DA-AB36-4FD1-8044-25F5CF20B8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3D7DC93-2059-4CBC-A5FF-27B890C57D37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8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8F4AD1B-14D0-4B46-91D0-74AE1A6B8C8D}"/>
              </a:ext>
            </a:extLst>
          </p:cNvPr>
          <p:cNvSpPr/>
          <p:nvPr/>
        </p:nvSpPr>
        <p:spPr>
          <a:xfrm>
            <a:off x="11033760" y="6493884"/>
            <a:ext cx="65444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r"/>
            <a:fld id="{AF528B6D-1001-487C-8FFE-85B114390330}" type="slidenum">
              <a:rPr lang="ru-RU" sz="1200" b="0" i="0" smtClean="0">
                <a:solidFill>
                  <a:schemeClr val="accent2"/>
                </a:solidFill>
              </a:rPr>
              <a:pPr algn="r"/>
              <a:t>‹#›</a:t>
            </a:fld>
            <a:endParaRPr lang="ru-RU" sz="1200" b="0" i="0">
              <a:solidFill>
                <a:schemeClr val="accent2"/>
              </a:solidFill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720690E-B1CA-4547-B0F5-076477556EF2}"/>
              </a:ext>
            </a:extLst>
          </p:cNvPr>
          <p:cNvGrpSpPr/>
          <p:nvPr/>
        </p:nvGrpSpPr>
        <p:grpSpPr>
          <a:xfrm>
            <a:off x="10598745" y="6532558"/>
            <a:ext cx="110267" cy="112358"/>
            <a:chOff x="1304925" y="4310063"/>
            <a:chExt cx="585788" cy="596901"/>
          </a:xfrm>
          <a:solidFill>
            <a:schemeClr val="accent3"/>
          </a:solidFill>
        </p:grpSpPr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C3653848-F691-4B73-A625-996339CB2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4925" y="4746626"/>
              <a:ext cx="163513" cy="1603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 baseline="-2500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79C1889-4AD7-4F64-8848-9957A6C01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925" y="4525963"/>
              <a:ext cx="381000" cy="381000"/>
            </a:xfrm>
            <a:custGeom>
              <a:avLst/>
              <a:gdLst>
                <a:gd name="T0" fmla="*/ 240 w 240"/>
                <a:gd name="T1" fmla="*/ 0 h 240"/>
                <a:gd name="T2" fmla="*/ 240 w 240"/>
                <a:gd name="T3" fmla="*/ 240 h 240"/>
                <a:gd name="T4" fmla="*/ 139 w 240"/>
                <a:gd name="T5" fmla="*/ 240 h 240"/>
                <a:gd name="T6" fmla="*/ 139 w 240"/>
                <a:gd name="T7" fmla="*/ 103 h 240"/>
                <a:gd name="T8" fmla="*/ 0 w 240"/>
                <a:gd name="T9" fmla="*/ 103 h 240"/>
                <a:gd name="T10" fmla="*/ 0 w 240"/>
                <a:gd name="T11" fmla="*/ 0 h 240"/>
                <a:gd name="T12" fmla="*/ 240 w 240"/>
                <a:gd name="T13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240">
                  <a:moveTo>
                    <a:pt x="240" y="0"/>
                  </a:moveTo>
                  <a:lnTo>
                    <a:pt x="240" y="240"/>
                  </a:lnTo>
                  <a:lnTo>
                    <a:pt x="139" y="240"/>
                  </a:lnTo>
                  <a:lnTo>
                    <a:pt x="139" y="103"/>
                  </a:lnTo>
                  <a:lnTo>
                    <a:pt x="0" y="103"/>
                  </a:lnTo>
                  <a:lnTo>
                    <a:pt x="0" y="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baseline="-2500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29C3C2D-034E-4BBB-9B64-17EB4E13D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925" y="4310063"/>
              <a:ext cx="585788" cy="596900"/>
            </a:xfrm>
            <a:custGeom>
              <a:avLst/>
              <a:gdLst>
                <a:gd name="T0" fmla="*/ 369 w 369"/>
                <a:gd name="T1" fmla="*/ 0 h 376"/>
                <a:gd name="T2" fmla="*/ 369 w 369"/>
                <a:gd name="T3" fmla="*/ 376 h 376"/>
                <a:gd name="T4" fmla="*/ 276 w 369"/>
                <a:gd name="T5" fmla="*/ 376 h 376"/>
                <a:gd name="T6" fmla="*/ 276 w 369"/>
                <a:gd name="T7" fmla="*/ 100 h 376"/>
                <a:gd name="T8" fmla="*/ 0 w 369"/>
                <a:gd name="T9" fmla="*/ 100 h 376"/>
                <a:gd name="T10" fmla="*/ 0 w 369"/>
                <a:gd name="T11" fmla="*/ 0 h 376"/>
                <a:gd name="T12" fmla="*/ 369 w 369"/>
                <a:gd name="T13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9" h="376">
                  <a:moveTo>
                    <a:pt x="369" y="0"/>
                  </a:moveTo>
                  <a:lnTo>
                    <a:pt x="369" y="376"/>
                  </a:lnTo>
                  <a:lnTo>
                    <a:pt x="276" y="376"/>
                  </a:lnTo>
                  <a:lnTo>
                    <a:pt x="276" y="100"/>
                  </a:lnTo>
                  <a:lnTo>
                    <a:pt x="0" y="100"/>
                  </a:lnTo>
                  <a:lnTo>
                    <a:pt x="0" y="0"/>
                  </a:lnTo>
                  <a:lnTo>
                    <a:pt x="36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baseline="-2500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B874E45-72E9-46DF-8FD1-92A4DC786CF4}"/>
              </a:ext>
            </a:extLst>
          </p:cNvPr>
          <p:cNvSpPr/>
          <p:nvPr/>
        </p:nvSpPr>
        <p:spPr>
          <a:xfrm>
            <a:off x="10605135" y="6493884"/>
            <a:ext cx="65444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r"/>
            <a:r>
              <a:rPr lang="en-US" sz="1200">
                <a:solidFill>
                  <a:schemeClr val="accent2"/>
                </a:solidFill>
                <a:latin typeface="+mj-lt"/>
                <a:ea typeface="Roboto Light" panose="02000000000000000000" pitchFamily="2" charset="0"/>
              </a:rPr>
              <a:t>BITOBE</a:t>
            </a:r>
            <a:endParaRPr lang="ru-RU" sz="1200" b="0" i="0">
              <a:solidFill>
                <a:schemeClr val="accent2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A688EEB-7A01-4C8E-A075-DD06F3555049}"/>
              </a:ext>
            </a:extLst>
          </p:cNvPr>
          <p:cNvCxnSpPr>
            <a:cxnSpLocks/>
          </p:cNvCxnSpPr>
          <p:nvPr/>
        </p:nvCxnSpPr>
        <p:spPr>
          <a:xfrm>
            <a:off x="11402219" y="6509936"/>
            <a:ext cx="0" cy="157605"/>
          </a:xfrm>
          <a:prstGeom prst="line">
            <a:avLst/>
          </a:prstGeom>
          <a:ln>
            <a:solidFill>
              <a:schemeClr val="accent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724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  <p:sldLayoutId id="2147484613" r:id="rId11"/>
    <p:sldLayoutId id="2147484614" r:id="rId12"/>
    <p:sldLayoutId id="2147484615" r:id="rId13"/>
    <p:sldLayoutId id="2147484616" r:id="rId14"/>
    <p:sldLayoutId id="2147484617" r:id="rId15"/>
    <p:sldLayoutId id="2147484618" r:id="rId16"/>
    <p:sldLayoutId id="2147484619" r:id="rId17"/>
    <p:sldLayoutId id="2147484620" r:id="rId18"/>
    <p:sldLayoutId id="2147484621" r:id="rId19"/>
    <p:sldLayoutId id="2147484622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2266"/>
          </a:solidFill>
          <a:latin typeface="Segoe UI" panose="020B0502040204020203" pitchFamily="34" charset="0"/>
          <a:ea typeface="Roboto" pitchFamily="2" charset="0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8" orient="horz" pos="39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88C141DA-AB36-4FD1-8044-25F5CF20B87E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280425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Слайд think-cell" r:id="rId31" imgW="395" imgH="396" progId="TCLayout.ActiveDocument.1">
                  <p:embed/>
                </p:oleObj>
              </mc:Choice>
              <mc:Fallback>
                <p:oleObj name="Слайд think-cell" r:id="rId31" imgW="395" imgH="39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88C141DA-AB36-4FD1-8044-25F5CF20B8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3D7DC93-2059-4CBC-A5FF-27B890C57D37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800" b="0" i="0" baseline="0">
              <a:latin typeface="Segoe UI" panose="020B0502040204020203" pitchFamily="34" charset="0"/>
              <a:ea typeface="Roboto" panose="02000000000000000000" pitchFamily="2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8F4AD1B-14D0-4B46-91D0-74AE1A6B8C8D}"/>
              </a:ext>
            </a:extLst>
          </p:cNvPr>
          <p:cNvSpPr/>
          <p:nvPr/>
        </p:nvSpPr>
        <p:spPr>
          <a:xfrm>
            <a:off x="11033760" y="6493884"/>
            <a:ext cx="65444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r"/>
            <a:fld id="{AF528B6D-1001-487C-8FFE-85B114390330}" type="slidenum">
              <a:rPr lang="ru-RU" sz="1200" b="0" i="0" smtClean="0">
                <a:solidFill>
                  <a:schemeClr val="accent2"/>
                </a:solidFill>
              </a:rPr>
              <a:pPr algn="r"/>
              <a:t>‹#›</a:t>
            </a:fld>
            <a:endParaRPr lang="ru-RU" sz="1200" b="0" i="0">
              <a:solidFill>
                <a:schemeClr val="accent2"/>
              </a:solidFill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720690E-B1CA-4547-B0F5-076477556EF2}"/>
              </a:ext>
            </a:extLst>
          </p:cNvPr>
          <p:cNvGrpSpPr/>
          <p:nvPr/>
        </p:nvGrpSpPr>
        <p:grpSpPr>
          <a:xfrm>
            <a:off x="10598745" y="6532558"/>
            <a:ext cx="110267" cy="112358"/>
            <a:chOff x="1304925" y="4310063"/>
            <a:chExt cx="585788" cy="596901"/>
          </a:xfrm>
          <a:solidFill>
            <a:schemeClr val="accent3"/>
          </a:solidFill>
        </p:grpSpPr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C3653848-F691-4B73-A625-996339CB2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4925" y="4746626"/>
              <a:ext cx="163513" cy="16033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 baseline="-2500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79C1889-4AD7-4F64-8848-9957A6C01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925" y="4525963"/>
              <a:ext cx="381000" cy="381000"/>
            </a:xfrm>
            <a:custGeom>
              <a:avLst/>
              <a:gdLst>
                <a:gd name="T0" fmla="*/ 240 w 240"/>
                <a:gd name="T1" fmla="*/ 0 h 240"/>
                <a:gd name="T2" fmla="*/ 240 w 240"/>
                <a:gd name="T3" fmla="*/ 240 h 240"/>
                <a:gd name="T4" fmla="*/ 139 w 240"/>
                <a:gd name="T5" fmla="*/ 240 h 240"/>
                <a:gd name="T6" fmla="*/ 139 w 240"/>
                <a:gd name="T7" fmla="*/ 103 h 240"/>
                <a:gd name="T8" fmla="*/ 0 w 240"/>
                <a:gd name="T9" fmla="*/ 103 h 240"/>
                <a:gd name="T10" fmla="*/ 0 w 240"/>
                <a:gd name="T11" fmla="*/ 0 h 240"/>
                <a:gd name="T12" fmla="*/ 240 w 240"/>
                <a:gd name="T13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240">
                  <a:moveTo>
                    <a:pt x="240" y="0"/>
                  </a:moveTo>
                  <a:lnTo>
                    <a:pt x="240" y="240"/>
                  </a:lnTo>
                  <a:lnTo>
                    <a:pt x="139" y="240"/>
                  </a:lnTo>
                  <a:lnTo>
                    <a:pt x="139" y="103"/>
                  </a:lnTo>
                  <a:lnTo>
                    <a:pt x="0" y="103"/>
                  </a:lnTo>
                  <a:lnTo>
                    <a:pt x="0" y="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baseline="-2500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29C3C2D-034E-4BBB-9B64-17EB4E13D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925" y="4310063"/>
              <a:ext cx="585788" cy="596900"/>
            </a:xfrm>
            <a:custGeom>
              <a:avLst/>
              <a:gdLst>
                <a:gd name="T0" fmla="*/ 369 w 369"/>
                <a:gd name="T1" fmla="*/ 0 h 376"/>
                <a:gd name="T2" fmla="*/ 369 w 369"/>
                <a:gd name="T3" fmla="*/ 376 h 376"/>
                <a:gd name="T4" fmla="*/ 276 w 369"/>
                <a:gd name="T5" fmla="*/ 376 h 376"/>
                <a:gd name="T6" fmla="*/ 276 w 369"/>
                <a:gd name="T7" fmla="*/ 100 h 376"/>
                <a:gd name="T8" fmla="*/ 0 w 369"/>
                <a:gd name="T9" fmla="*/ 100 h 376"/>
                <a:gd name="T10" fmla="*/ 0 w 369"/>
                <a:gd name="T11" fmla="*/ 0 h 376"/>
                <a:gd name="T12" fmla="*/ 369 w 369"/>
                <a:gd name="T13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9" h="376">
                  <a:moveTo>
                    <a:pt x="369" y="0"/>
                  </a:moveTo>
                  <a:lnTo>
                    <a:pt x="369" y="376"/>
                  </a:lnTo>
                  <a:lnTo>
                    <a:pt x="276" y="376"/>
                  </a:lnTo>
                  <a:lnTo>
                    <a:pt x="276" y="100"/>
                  </a:lnTo>
                  <a:lnTo>
                    <a:pt x="0" y="100"/>
                  </a:lnTo>
                  <a:lnTo>
                    <a:pt x="0" y="0"/>
                  </a:lnTo>
                  <a:lnTo>
                    <a:pt x="369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baseline="-25000">
                <a:solidFill>
                  <a:schemeClr val="accent3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B874E45-72E9-46DF-8FD1-92A4DC786CF4}"/>
              </a:ext>
            </a:extLst>
          </p:cNvPr>
          <p:cNvSpPr/>
          <p:nvPr/>
        </p:nvSpPr>
        <p:spPr>
          <a:xfrm>
            <a:off x="10605135" y="6493884"/>
            <a:ext cx="65444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r"/>
            <a:r>
              <a:rPr lang="en-US" sz="1200">
                <a:solidFill>
                  <a:schemeClr val="accent2"/>
                </a:solidFill>
                <a:latin typeface="+mj-lt"/>
                <a:ea typeface="Roboto Light" panose="02000000000000000000" pitchFamily="2" charset="0"/>
              </a:rPr>
              <a:t>BITOBE</a:t>
            </a:r>
            <a:endParaRPr lang="ru-RU" sz="1200" b="0" i="0">
              <a:solidFill>
                <a:schemeClr val="accent2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A688EEB-7A01-4C8E-A075-DD06F3555049}"/>
              </a:ext>
            </a:extLst>
          </p:cNvPr>
          <p:cNvCxnSpPr>
            <a:cxnSpLocks/>
          </p:cNvCxnSpPr>
          <p:nvPr/>
        </p:nvCxnSpPr>
        <p:spPr>
          <a:xfrm>
            <a:off x="11402219" y="6509936"/>
            <a:ext cx="0" cy="157605"/>
          </a:xfrm>
          <a:prstGeom prst="line">
            <a:avLst/>
          </a:prstGeom>
          <a:ln>
            <a:solidFill>
              <a:schemeClr val="accent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082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4" r:id="rId1"/>
    <p:sldLayoutId id="2147484625" r:id="rId2"/>
    <p:sldLayoutId id="2147484626" r:id="rId3"/>
    <p:sldLayoutId id="2147484627" r:id="rId4"/>
    <p:sldLayoutId id="2147484628" r:id="rId5"/>
    <p:sldLayoutId id="2147484629" r:id="rId6"/>
    <p:sldLayoutId id="2147484630" r:id="rId7"/>
    <p:sldLayoutId id="2147484631" r:id="rId8"/>
    <p:sldLayoutId id="2147484632" r:id="rId9"/>
    <p:sldLayoutId id="2147484633" r:id="rId10"/>
    <p:sldLayoutId id="2147484634" r:id="rId11"/>
    <p:sldLayoutId id="2147484635" r:id="rId12"/>
    <p:sldLayoutId id="2147484636" r:id="rId13"/>
    <p:sldLayoutId id="2147484637" r:id="rId14"/>
    <p:sldLayoutId id="2147484638" r:id="rId15"/>
    <p:sldLayoutId id="2147484639" r:id="rId16"/>
    <p:sldLayoutId id="2147484640" r:id="rId17"/>
    <p:sldLayoutId id="2147484641" r:id="rId18"/>
    <p:sldLayoutId id="2147484642" r:id="rId19"/>
    <p:sldLayoutId id="2147484643" r:id="rId20"/>
    <p:sldLayoutId id="2147484644" r:id="rId21"/>
    <p:sldLayoutId id="2147484645" r:id="rId22"/>
    <p:sldLayoutId id="2147484646" r:id="rId23"/>
    <p:sldLayoutId id="2147484647" r:id="rId24"/>
    <p:sldLayoutId id="2147484648" r:id="rId25"/>
    <p:sldLayoutId id="2147484649" r:id="rId2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002266"/>
          </a:solidFill>
          <a:latin typeface="Segoe UI" panose="020B0502040204020203" pitchFamily="34" charset="0"/>
          <a:ea typeface="Roboto" pitchFamily="2" charset="0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002266"/>
          </a:solidFill>
          <a:latin typeface="+mj-lt"/>
          <a:ea typeface="Roboto Light" panose="02000000000000000000" pitchFamily="2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8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FF938-4831-823E-E263-3967499C0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847" y="360884"/>
            <a:ext cx="11164215" cy="536128"/>
          </a:xfrm>
        </p:spPr>
        <p:txBody>
          <a:bodyPr>
            <a:normAutofit/>
          </a:bodyPr>
          <a:lstStyle/>
          <a:p>
            <a:r>
              <a:rPr lang="ru-RU" dirty="0">
                <a:ea typeface="Roboto"/>
                <a:cs typeface="Segoe UI"/>
              </a:rPr>
              <a:t>Название презентации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DAB52A-6C09-0779-22AA-DD298333BEF3}"/>
              </a:ext>
            </a:extLst>
          </p:cNvPr>
          <p:cNvSpPr txBox="1"/>
          <p:nvPr/>
        </p:nvSpPr>
        <p:spPr>
          <a:xfrm>
            <a:off x="10035251" y="0"/>
            <a:ext cx="2156749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Технический слайд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Сторилай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: Драма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67EF235D-189E-D7D0-E683-0A795A6AF231}"/>
              </a:ext>
            </a:extLst>
          </p:cNvPr>
          <p:cNvGrpSpPr/>
          <p:nvPr/>
        </p:nvGrpSpPr>
        <p:grpSpPr bwMode="auto">
          <a:xfrm>
            <a:off x="526738" y="1490503"/>
            <a:ext cx="9074756" cy="3876994"/>
            <a:chOff x="5102190" y="2099573"/>
            <a:chExt cx="2421918" cy="1034712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A8A35617-4EAE-9B2C-B666-05274C505EB6}"/>
                </a:ext>
              </a:extLst>
            </p:cNvPr>
            <p:cNvSpPr/>
            <p:nvPr/>
          </p:nvSpPr>
          <p:spPr bwMode="auto">
            <a:xfrm>
              <a:off x="5106338" y="2249017"/>
              <a:ext cx="2265233" cy="792913"/>
            </a:xfrm>
            <a:custGeom>
              <a:avLst/>
              <a:gdLst>
                <a:gd name="connsiteX0" fmla="*/ 0 w 11222966"/>
                <a:gd name="connsiteY0" fmla="*/ 612476 h 3371995"/>
                <a:gd name="connsiteX1" fmla="*/ 828136 w 11222966"/>
                <a:gd name="connsiteY1" fmla="*/ 457200 h 3371995"/>
                <a:gd name="connsiteX2" fmla="*/ 1682151 w 11222966"/>
                <a:gd name="connsiteY2" fmla="*/ 690113 h 3371995"/>
                <a:gd name="connsiteX3" fmla="*/ 2182483 w 11222966"/>
                <a:gd name="connsiteY3" fmla="*/ 3355676 h 3371995"/>
                <a:gd name="connsiteX4" fmla="*/ 3303917 w 11222966"/>
                <a:gd name="connsiteY4" fmla="*/ 1751162 h 3371995"/>
                <a:gd name="connsiteX5" fmla="*/ 4701396 w 11222966"/>
                <a:gd name="connsiteY5" fmla="*/ 517585 h 3371995"/>
                <a:gd name="connsiteX6" fmla="*/ 10136038 w 11222966"/>
                <a:gd name="connsiteY6" fmla="*/ 146649 h 3371995"/>
                <a:gd name="connsiteX7" fmla="*/ 11222966 w 11222966"/>
                <a:gd name="connsiteY7" fmla="*/ 0 h 3371995"/>
                <a:gd name="connsiteX0" fmla="*/ 0 w 11222966"/>
                <a:gd name="connsiteY0" fmla="*/ 612476 h 3447658"/>
                <a:gd name="connsiteX1" fmla="*/ 828136 w 11222966"/>
                <a:gd name="connsiteY1" fmla="*/ 457200 h 3447658"/>
                <a:gd name="connsiteX2" fmla="*/ 1682151 w 11222966"/>
                <a:gd name="connsiteY2" fmla="*/ 690113 h 3447658"/>
                <a:gd name="connsiteX3" fmla="*/ 2182483 w 11222966"/>
                <a:gd name="connsiteY3" fmla="*/ 3355676 h 3447658"/>
                <a:gd name="connsiteX4" fmla="*/ 4718830 w 11222966"/>
                <a:gd name="connsiteY4" fmla="*/ 2617436 h 3447658"/>
                <a:gd name="connsiteX5" fmla="*/ 4701396 w 11222966"/>
                <a:gd name="connsiteY5" fmla="*/ 517585 h 3447658"/>
                <a:gd name="connsiteX6" fmla="*/ 10136038 w 11222966"/>
                <a:gd name="connsiteY6" fmla="*/ 146649 h 3447658"/>
                <a:gd name="connsiteX7" fmla="*/ 11222966 w 11222966"/>
                <a:gd name="connsiteY7" fmla="*/ 0 h 3447658"/>
                <a:gd name="connsiteX0" fmla="*/ 0 w 11222966"/>
                <a:gd name="connsiteY0" fmla="*/ 612476 h 3334854"/>
                <a:gd name="connsiteX1" fmla="*/ 828136 w 11222966"/>
                <a:gd name="connsiteY1" fmla="*/ 457200 h 3334854"/>
                <a:gd name="connsiteX2" fmla="*/ 1682151 w 11222966"/>
                <a:gd name="connsiteY2" fmla="*/ 690113 h 3334854"/>
                <a:gd name="connsiteX3" fmla="*/ 3154635 w 11222966"/>
                <a:gd name="connsiteY3" fmla="*/ 3230548 h 3334854"/>
                <a:gd name="connsiteX4" fmla="*/ 4718830 w 11222966"/>
                <a:gd name="connsiteY4" fmla="*/ 2617436 h 3334854"/>
                <a:gd name="connsiteX5" fmla="*/ 4701396 w 11222966"/>
                <a:gd name="connsiteY5" fmla="*/ 517585 h 3334854"/>
                <a:gd name="connsiteX6" fmla="*/ 10136038 w 11222966"/>
                <a:gd name="connsiteY6" fmla="*/ 146649 h 3334854"/>
                <a:gd name="connsiteX7" fmla="*/ 11222966 w 11222966"/>
                <a:gd name="connsiteY7" fmla="*/ 0 h 3334854"/>
                <a:gd name="connsiteX0" fmla="*/ 0 w 11222966"/>
                <a:gd name="connsiteY0" fmla="*/ 612476 h 3303445"/>
                <a:gd name="connsiteX1" fmla="*/ 828136 w 11222966"/>
                <a:gd name="connsiteY1" fmla="*/ 457200 h 3303445"/>
                <a:gd name="connsiteX2" fmla="*/ 1682151 w 11222966"/>
                <a:gd name="connsiteY2" fmla="*/ 690113 h 3303445"/>
                <a:gd name="connsiteX3" fmla="*/ 3154635 w 11222966"/>
                <a:gd name="connsiteY3" fmla="*/ 3230548 h 3303445"/>
                <a:gd name="connsiteX4" fmla="*/ 4718830 w 11222966"/>
                <a:gd name="connsiteY4" fmla="*/ 2617436 h 3303445"/>
                <a:gd name="connsiteX5" fmla="*/ 4688048 w 11222966"/>
                <a:gd name="connsiteY5" fmla="*/ 2657026 h 3303445"/>
                <a:gd name="connsiteX6" fmla="*/ 4701396 w 11222966"/>
                <a:gd name="connsiteY6" fmla="*/ 517585 h 3303445"/>
                <a:gd name="connsiteX7" fmla="*/ 10136038 w 11222966"/>
                <a:gd name="connsiteY7" fmla="*/ 146649 h 3303445"/>
                <a:gd name="connsiteX8" fmla="*/ 11222966 w 11222966"/>
                <a:gd name="connsiteY8" fmla="*/ 0 h 3303445"/>
                <a:gd name="connsiteX0" fmla="*/ 0 w 11222966"/>
                <a:gd name="connsiteY0" fmla="*/ 612476 h 3334854"/>
                <a:gd name="connsiteX1" fmla="*/ 828136 w 11222966"/>
                <a:gd name="connsiteY1" fmla="*/ 457200 h 3334854"/>
                <a:gd name="connsiteX2" fmla="*/ 1682151 w 11222966"/>
                <a:gd name="connsiteY2" fmla="*/ 690113 h 3334854"/>
                <a:gd name="connsiteX3" fmla="*/ 3154635 w 11222966"/>
                <a:gd name="connsiteY3" fmla="*/ 3230548 h 3334854"/>
                <a:gd name="connsiteX4" fmla="*/ 4718830 w 11222966"/>
                <a:gd name="connsiteY4" fmla="*/ 2617436 h 3334854"/>
                <a:gd name="connsiteX5" fmla="*/ 4701396 w 11222966"/>
                <a:gd name="connsiteY5" fmla="*/ 517585 h 3334854"/>
                <a:gd name="connsiteX6" fmla="*/ 10136038 w 11222966"/>
                <a:gd name="connsiteY6" fmla="*/ 146649 h 3334854"/>
                <a:gd name="connsiteX7" fmla="*/ 11222966 w 11222966"/>
                <a:gd name="connsiteY7" fmla="*/ 0 h 3334854"/>
                <a:gd name="connsiteX0" fmla="*/ 0 w 11222966"/>
                <a:gd name="connsiteY0" fmla="*/ 612476 h 3230839"/>
                <a:gd name="connsiteX1" fmla="*/ 828136 w 11222966"/>
                <a:gd name="connsiteY1" fmla="*/ 457200 h 3230839"/>
                <a:gd name="connsiteX2" fmla="*/ 1682151 w 11222966"/>
                <a:gd name="connsiteY2" fmla="*/ 690113 h 3230839"/>
                <a:gd name="connsiteX3" fmla="*/ 3154635 w 11222966"/>
                <a:gd name="connsiteY3" fmla="*/ 3230548 h 3230839"/>
                <a:gd name="connsiteX4" fmla="*/ 4701396 w 11222966"/>
                <a:gd name="connsiteY4" fmla="*/ 517585 h 3230839"/>
                <a:gd name="connsiteX5" fmla="*/ 10136038 w 11222966"/>
                <a:gd name="connsiteY5" fmla="*/ 146649 h 3230839"/>
                <a:gd name="connsiteX6" fmla="*/ 11222966 w 11222966"/>
                <a:gd name="connsiteY6" fmla="*/ 0 h 3230839"/>
                <a:gd name="connsiteX0" fmla="*/ 0 w 11222966"/>
                <a:gd name="connsiteY0" fmla="*/ 612476 h 3230836"/>
                <a:gd name="connsiteX1" fmla="*/ 1682151 w 11222966"/>
                <a:gd name="connsiteY1" fmla="*/ 690113 h 3230836"/>
                <a:gd name="connsiteX2" fmla="*/ 3154635 w 11222966"/>
                <a:gd name="connsiteY2" fmla="*/ 3230548 h 3230836"/>
                <a:gd name="connsiteX3" fmla="*/ 4701396 w 11222966"/>
                <a:gd name="connsiteY3" fmla="*/ 517585 h 3230836"/>
                <a:gd name="connsiteX4" fmla="*/ 10136038 w 11222966"/>
                <a:gd name="connsiteY4" fmla="*/ 146649 h 3230836"/>
                <a:gd name="connsiteX5" fmla="*/ 11222966 w 11222966"/>
                <a:gd name="connsiteY5" fmla="*/ 0 h 3230836"/>
                <a:gd name="connsiteX0" fmla="*/ 0 w 11222966"/>
                <a:gd name="connsiteY0" fmla="*/ 612476 h 3194981"/>
                <a:gd name="connsiteX1" fmla="*/ 1682151 w 11222966"/>
                <a:gd name="connsiteY1" fmla="*/ 690113 h 3194981"/>
                <a:gd name="connsiteX2" fmla="*/ 2482282 w 11222966"/>
                <a:gd name="connsiteY2" fmla="*/ 3194689 h 3194981"/>
                <a:gd name="connsiteX3" fmla="*/ 4701396 w 11222966"/>
                <a:gd name="connsiteY3" fmla="*/ 517585 h 3194981"/>
                <a:gd name="connsiteX4" fmla="*/ 10136038 w 11222966"/>
                <a:gd name="connsiteY4" fmla="*/ 146649 h 3194981"/>
                <a:gd name="connsiteX5" fmla="*/ 11222966 w 11222966"/>
                <a:gd name="connsiteY5" fmla="*/ 0 h 3194981"/>
                <a:gd name="connsiteX0" fmla="*/ 0 w 11222966"/>
                <a:gd name="connsiteY0" fmla="*/ 612476 h 3196916"/>
                <a:gd name="connsiteX1" fmla="*/ 1682151 w 11222966"/>
                <a:gd name="connsiteY1" fmla="*/ 690113 h 3196916"/>
                <a:gd name="connsiteX2" fmla="*/ 2482282 w 11222966"/>
                <a:gd name="connsiteY2" fmla="*/ 3194689 h 3196916"/>
                <a:gd name="connsiteX3" fmla="*/ 3948361 w 11222966"/>
                <a:gd name="connsiteY3" fmla="*/ 203820 h 3196916"/>
                <a:gd name="connsiteX4" fmla="*/ 10136038 w 11222966"/>
                <a:gd name="connsiteY4" fmla="*/ 146649 h 3196916"/>
                <a:gd name="connsiteX5" fmla="*/ 11222966 w 11222966"/>
                <a:gd name="connsiteY5" fmla="*/ 0 h 3196916"/>
                <a:gd name="connsiteX0" fmla="*/ 0 w 11222966"/>
                <a:gd name="connsiteY0" fmla="*/ 695025 h 3279465"/>
                <a:gd name="connsiteX1" fmla="*/ 1682151 w 11222966"/>
                <a:gd name="connsiteY1" fmla="*/ 772662 h 3279465"/>
                <a:gd name="connsiteX2" fmla="*/ 2482282 w 11222966"/>
                <a:gd name="connsiteY2" fmla="*/ 3277238 h 3279465"/>
                <a:gd name="connsiteX3" fmla="*/ 3948361 w 11222966"/>
                <a:gd name="connsiteY3" fmla="*/ 286369 h 3279465"/>
                <a:gd name="connsiteX4" fmla="*/ 5921780 w 11222966"/>
                <a:gd name="connsiteY4" fmla="*/ 113672 h 3279465"/>
                <a:gd name="connsiteX5" fmla="*/ 10136038 w 11222966"/>
                <a:gd name="connsiteY5" fmla="*/ 229198 h 3279465"/>
                <a:gd name="connsiteX6" fmla="*/ 11222966 w 11222966"/>
                <a:gd name="connsiteY6" fmla="*/ 82549 h 3279465"/>
                <a:gd name="connsiteX0" fmla="*/ 0 w 11222966"/>
                <a:gd name="connsiteY0" fmla="*/ 620536 h 3204976"/>
                <a:gd name="connsiteX1" fmla="*/ 1682151 w 11222966"/>
                <a:gd name="connsiteY1" fmla="*/ 698173 h 3204976"/>
                <a:gd name="connsiteX2" fmla="*/ 2482282 w 11222966"/>
                <a:gd name="connsiteY2" fmla="*/ 3202749 h 3204976"/>
                <a:gd name="connsiteX3" fmla="*/ 3948361 w 11222966"/>
                <a:gd name="connsiteY3" fmla="*/ 211880 h 3204976"/>
                <a:gd name="connsiteX4" fmla="*/ 5894886 w 11222966"/>
                <a:gd name="connsiteY4" fmla="*/ 299160 h 3204976"/>
                <a:gd name="connsiteX5" fmla="*/ 10136038 w 11222966"/>
                <a:gd name="connsiteY5" fmla="*/ 154709 h 3204976"/>
                <a:gd name="connsiteX6" fmla="*/ 11222966 w 11222966"/>
                <a:gd name="connsiteY6" fmla="*/ 8060 h 3204976"/>
                <a:gd name="connsiteX0" fmla="*/ 0 w 11222966"/>
                <a:gd name="connsiteY0" fmla="*/ 620536 h 3204976"/>
                <a:gd name="connsiteX1" fmla="*/ 1682151 w 11222966"/>
                <a:gd name="connsiteY1" fmla="*/ 698173 h 3204976"/>
                <a:gd name="connsiteX2" fmla="*/ 2482282 w 11222966"/>
                <a:gd name="connsiteY2" fmla="*/ 3202749 h 3204976"/>
                <a:gd name="connsiteX3" fmla="*/ 3948361 w 11222966"/>
                <a:gd name="connsiteY3" fmla="*/ 211880 h 3204976"/>
                <a:gd name="connsiteX4" fmla="*/ 5894886 w 11222966"/>
                <a:gd name="connsiteY4" fmla="*/ 299160 h 3204976"/>
                <a:gd name="connsiteX5" fmla="*/ 10136038 w 11222966"/>
                <a:gd name="connsiteY5" fmla="*/ 154709 h 3204976"/>
                <a:gd name="connsiteX6" fmla="*/ 11222966 w 11222966"/>
                <a:gd name="connsiteY6" fmla="*/ 8060 h 3204976"/>
                <a:gd name="connsiteX0" fmla="*/ 0 w 11222966"/>
                <a:gd name="connsiteY0" fmla="*/ 909090 h 3493530"/>
                <a:gd name="connsiteX1" fmla="*/ 1682151 w 11222966"/>
                <a:gd name="connsiteY1" fmla="*/ 986727 h 3493530"/>
                <a:gd name="connsiteX2" fmla="*/ 2482282 w 11222966"/>
                <a:gd name="connsiteY2" fmla="*/ 3491303 h 3493530"/>
                <a:gd name="connsiteX3" fmla="*/ 3948361 w 11222966"/>
                <a:gd name="connsiteY3" fmla="*/ 500434 h 3493530"/>
                <a:gd name="connsiteX4" fmla="*/ 5894886 w 11222966"/>
                <a:gd name="connsiteY4" fmla="*/ 587714 h 3493530"/>
                <a:gd name="connsiteX5" fmla="*/ 9849168 w 11222966"/>
                <a:gd name="connsiteY5" fmla="*/ 12957 h 3493530"/>
                <a:gd name="connsiteX6" fmla="*/ 11222966 w 11222966"/>
                <a:gd name="connsiteY6" fmla="*/ 296614 h 3493530"/>
                <a:gd name="connsiteX0" fmla="*/ 0 w 11151248"/>
                <a:gd name="connsiteY0" fmla="*/ 907871 h 3492311"/>
                <a:gd name="connsiteX1" fmla="*/ 1682151 w 11151248"/>
                <a:gd name="connsiteY1" fmla="*/ 985508 h 3492311"/>
                <a:gd name="connsiteX2" fmla="*/ 2482282 w 11151248"/>
                <a:gd name="connsiteY2" fmla="*/ 3490084 h 3492311"/>
                <a:gd name="connsiteX3" fmla="*/ 3948361 w 11151248"/>
                <a:gd name="connsiteY3" fmla="*/ 499215 h 3492311"/>
                <a:gd name="connsiteX4" fmla="*/ 5894886 w 11151248"/>
                <a:gd name="connsiteY4" fmla="*/ 586495 h 3492311"/>
                <a:gd name="connsiteX5" fmla="*/ 9849168 w 11151248"/>
                <a:gd name="connsiteY5" fmla="*/ 11738 h 3492311"/>
                <a:gd name="connsiteX6" fmla="*/ 11151248 w 11151248"/>
                <a:gd name="connsiteY6" fmla="*/ 340218 h 3492311"/>
                <a:gd name="connsiteX0" fmla="*/ 0 w 11151248"/>
                <a:gd name="connsiteY0" fmla="*/ 915933 h 3500373"/>
                <a:gd name="connsiteX1" fmla="*/ 1682151 w 11151248"/>
                <a:gd name="connsiteY1" fmla="*/ 993570 h 3500373"/>
                <a:gd name="connsiteX2" fmla="*/ 2482282 w 11151248"/>
                <a:gd name="connsiteY2" fmla="*/ 3498146 h 3500373"/>
                <a:gd name="connsiteX3" fmla="*/ 3948361 w 11151248"/>
                <a:gd name="connsiteY3" fmla="*/ 507277 h 3500373"/>
                <a:gd name="connsiteX4" fmla="*/ 5894886 w 11151248"/>
                <a:gd name="connsiteY4" fmla="*/ 594557 h 3500373"/>
                <a:gd name="connsiteX5" fmla="*/ 9849168 w 11151248"/>
                <a:gd name="connsiteY5" fmla="*/ 19800 h 3500373"/>
                <a:gd name="connsiteX6" fmla="*/ 11151248 w 11151248"/>
                <a:gd name="connsiteY6" fmla="*/ 348280 h 3500373"/>
                <a:gd name="connsiteX0" fmla="*/ 0 w 11151248"/>
                <a:gd name="connsiteY0" fmla="*/ 1105145 h 3689585"/>
                <a:gd name="connsiteX1" fmla="*/ 1682151 w 11151248"/>
                <a:gd name="connsiteY1" fmla="*/ 1182782 h 3689585"/>
                <a:gd name="connsiteX2" fmla="*/ 2482282 w 11151248"/>
                <a:gd name="connsiteY2" fmla="*/ 3687358 h 3689585"/>
                <a:gd name="connsiteX3" fmla="*/ 3948361 w 11151248"/>
                <a:gd name="connsiteY3" fmla="*/ 696489 h 3689585"/>
                <a:gd name="connsiteX4" fmla="*/ 5894886 w 11151248"/>
                <a:gd name="connsiteY4" fmla="*/ 783769 h 3689585"/>
                <a:gd name="connsiteX5" fmla="*/ 9391968 w 11151248"/>
                <a:gd name="connsiteY5" fmla="*/ 11789 h 3689585"/>
                <a:gd name="connsiteX6" fmla="*/ 11151248 w 11151248"/>
                <a:gd name="connsiteY6" fmla="*/ 537492 h 3689585"/>
                <a:gd name="connsiteX0" fmla="*/ 0 w 11151248"/>
                <a:gd name="connsiteY0" fmla="*/ 1093356 h 3677796"/>
                <a:gd name="connsiteX1" fmla="*/ 1682151 w 11151248"/>
                <a:gd name="connsiteY1" fmla="*/ 1170993 h 3677796"/>
                <a:gd name="connsiteX2" fmla="*/ 2482282 w 11151248"/>
                <a:gd name="connsiteY2" fmla="*/ 3675569 h 3677796"/>
                <a:gd name="connsiteX3" fmla="*/ 3948361 w 11151248"/>
                <a:gd name="connsiteY3" fmla="*/ 684700 h 3677796"/>
                <a:gd name="connsiteX4" fmla="*/ 5894886 w 11151248"/>
                <a:gd name="connsiteY4" fmla="*/ 771980 h 3677796"/>
                <a:gd name="connsiteX5" fmla="*/ 9391968 w 11151248"/>
                <a:gd name="connsiteY5" fmla="*/ 0 h 3677796"/>
                <a:gd name="connsiteX6" fmla="*/ 11151248 w 11151248"/>
                <a:gd name="connsiteY6" fmla="*/ 525703 h 3677796"/>
                <a:gd name="connsiteX0" fmla="*/ 0 w 11151248"/>
                <a:gd name="connsiteY0" fmla="*/ 1093356 h 3677796"/>
                <a:gd name="connsiteX1" fmla="*/ 1682151 w 11151248"/>
                <a:gd name="connsiteY1" fmla="*/ 1170993 h 3677796"/>
                <a:gd name="connsiteX2" fmla="*/ 2482282 w 11151248"/>
                <a:gd name="connsiteY2" fmla="*/ 3675569 h 3677796"/>
                <a:gd name="connsiteX3" fmla="*/ 3948361 w 11151248"/>
                <a:gd name="connsiteY3" fmla="*/ 684700 h 3677796"/>
                <a:gd name="connsiteX4" fmla="*/ 5894886 w 11151248"/>
                <a:gd name="connsiteY4" fmla="*/ 771980 h 3677796"/>
                <a:gd name="connsiteX5" fmla="*/ 9391968 w 11151248"/>
                <a:gd name="connsiteY5" fmla="*/ 0 h 3677796"/>
                <a:gd name="connsiteX6" fmla="*/ 11151248 w 11151248"/>
                <a:gd name="connsiteY6" fmla="*/ 525703 h 3677796"/>
                <a:gd name="connsiteX0" fmla="*/ 0 w 11151248"/>
                <a:gd name="connsiteY0" fmla="*/ 1093356 h 3676997"/>
                <a:gd name="connsiteX1" fmla="*/ 1539912 w 11151248"/>
                <a:gd name="connsiteY1" fmla="*/ 1079888 h 3676997"/>
                <a:gd name="connsiteX2" fmla="*/ 2482282 w 11151248"/>
                <a:gd name="connsiteY2" fmla="*/ 3675569 h 3676997"/>
                <a:gd name="connsiteX3" fmla="*/ 3948361 w 11151248"/>
                <a:gd name="connsiteY3" fmla="*/ 684700 h 3676997"/>
                <a:gd name="connsiteX4" fmla="*/ 5894886 w 11151248"/>
                <a:gd name="connsiteY4" fmla="*/ 771980 h 3676997"/>
                <a:gd name="connsiteX5" fmla="*/ 9391968 w 11151248"/>
                <a:gd name="connsiteY5" fmla="*/ 0 h 3676997"/>
                <a:gd name="connsiteX6" fmla="*/ 11151248 w 11151248"/>
                <a:gd name="connsiteY6" fmla="*/ 525703 h 3676997"/>
                <a:gd name="connsiteX0" fmla="*/ 0 w 11151248"/>
                <a:gd name="connsiteY0" fmla="*/ 1093356 h 3364822"/>
                <a:gd name="connsiteX1" fmla="*/ 1539912 w 11151248"/>
                <a:gd name="connsiteY1" fmla="*/ 1079888 h 3364822"/>
                <a:gd name="connsiteX2" fmla="*/ 2469351 w 11151248"/>
                <a:gd name="connsiteY2" fmla="*/ 3363209 h 3364822"/>
                <a:gd name="connsiteX3" fmla="*/ 3948361 w 11151248"/>
                <a:gd name="connsiteY3" fmla="*/ 684700 h 3364822"/>
                <a:gd name="connsiteX4" fmla="*/ 5894886 w 11151248"/>
                <a:gd name="connsiteY4" fmla="*/ 771980 h 3364822"/>
                <a:gd name="connsiteX5" fmla="*/ 9391968 w 11151248"/>
                <a:gd name="connsiteY5" fmla="*/ 0 h 3364822"/>
                <a:gd name="connsiteX6" fmla="*/ 11151248 w 11151248"/>
                <a:gd name="connsiteY6" fmla="*/ 525703 h 3364822"/>
                <a:gd name="connsiteX0" fmla="*/ 0 w 11151248"/>
                <a:gd name="connsiteY0" fmla="*/ 1093356 h 3367015"/>
                <a:gd name="connsiteX1" fmla="*/ 1539912 w 11151248"/>
                <a:gd name="connsiteY1" fmla="*/ 1079888 h 3367015"/>
                <a:gd name="connsiteX2" fmla="*/ 2469351 w 11151248"/>
                <a:gd name="connsiteY2" fmla="*/ 3363209 h 3367015"/>
                <a:gd name="connsiteX3" fmla="*/ 3211303 w 11151248"/>
                <a:gd name="connsiteY3" fmla="*/ 463445 h 3367015"/>
                <a:gd name="connsiteX4" fmla="*/ 5894886 w 11151248"/>
                <a:gd name="connsiteY4" fmla="*/ 771980 h 3367015"/>
                <a:gd name="connsiteX5" fmla="*/ 9391968 w 11151248"/>
                <a:gd name="connsiteY5" fmla="*/ 0 h 3367015"/>
                <a:gd name="connsiteX6" fmla="*/ 11151248 w 11151248"/>
                <a:gd name="connsiteY6" fmla="*/ 525703 h 3367015"/>
                <a:gd name="connsiteX0" fmla="*/ 0 w 11151248"/>
                <a:gd name="connsiteY0" fmla="*/ 1093356 h 3367015"/>
                <a:gd name="connsiteX1" fmla="*/ 1539912 w 11151248"/>
                <a:gd name="connsiteY1" fmla="*/ 1079888 h 3367015"/>
                <a:gd name="connsiteX2" fmla="*/ 2469351 w 11151248"/>
                <a:gd name="connsiteY2" fmla="*/ 3363209 h 3367015"/>
                <a:gd name="connsiteX3" fmla="*/ 3211303 w 11151248"/>
                <a:gd name="connsiteY3" fmla="*/ 463445 h 3367015"/>
                <a:gd name="connsiteX4" fmla="*/ 5571615 w 11151248"/>
                <a:gd name="connsiteY4" fmla="*/ 485650 h 3367015"/>
                <a:gd name="connsiteX5" fmla="*/ 9391968 w 11151248"/>
                <a:gd name="connsiteY5" fmla="*/ 0 h 3367015"/>
                <a:gd name="connsiteX6" fmla="*/ 11151248 w 11151248"/>
                <a:gd name="connsiteY6" fmla="*/ 525703 h 3367015"/>
                <a:gd name="connsiteX0" fmla="*/ 0 w 11151248"/>
                <a:gd name="connsiteY0" fmla="*/ 1093356 h 3367015"/>
                <a:gd name="connsiteX1" fmla="*/ 1539912 w 11151248"/>
                <a:gd name="connsiteY1" fmla="*/ 1079888 h 3367015"/>
                <a:gd name="connsiteX2" fmla="*/ 2469351 w 11151248"/>
                <a:gd name="connsiteY2" fmla="*/ 3363209 h 3367015"/>
                <a:gd name="connsiteX3" fmla="*/ 3211303 w 11151248"/>
                <a:gd name="connsiteY3" fmla="*/ 463445 h 3367015"/>
                <a:gd name="connsiteX4" fmla="*/ 5571615 w 11151248"/>
                <a:gd name="connsiteY4" fmla="*/ 485650 h 3367015"/>
                <a:gd name="connsiteX5" fmla="*/ 9391968 w 11151248"/>
                <a:gd name="connsiteY5" fmla="*/ 0 h 3367015"/>
                <a:gd name="connsiteX6" fmla="*/ 11151248 w 11151248"/>
                <a:gd name="connsiteY6" fmla="*/ 525703 h 3367015"/>
                <a:gd name="connsiteX0" fmla="*/ 0 w 11151248"/>
                <a:gd name="connsiteY0" fmla="*/ 1327626 h 3601285"/>
                <a:gd name="connsiteX1" fmla="*/ 1539912 w 11151248"/>
                <a:gd name="connsiteY1" fmla="*/ 1314158 h 3601285"/>
                <a:gd name="connsiteX2" fmla="*/ 2469351 w 11151248"/>
                <a:gd name="connsiteY2" fmla="*/ 3597479 h 3601285"/>
                <a:gd name="connsiteX3" fmla="*/ 3211303 w 11151248"/>
                <a:gd name="connsiteY3" fmla="*/ 697715 h 3601285"/>
                <a:gd name="connsiteX4" fmla="*/ 5571615 w 11151248"/>
                <a:gd name="connsiteY4" fmla="*/ 719920 h 3601285"/>
                <a:gd name="connsiteX5" fmla="*/ 9249729 w 11151248"/>
                <a:gd name="connsiteY5" fmla="*/ 0 h 3601285"/>
                <a:gd name="connsiteX6" fmla="*/ 11151248 w 11151248"/>
                <a:gd name="connsiteY6" fmla="*/ 759973 h 3601285"/>
                <a:gd name="connsiteX0" fmla="*/ 0 w 11151248"/>
                <a:gd name="connsiteY0" fmla="*/ 1327626 h 3601285"/>
                <a:gd name="connsiteX1" fmla="*/ 1539912 w 11151248"/>
                <a:gd name="connsiteY1" fmla="*/ 1314158 h 3601285"/>
                <a:gd name="connsiteX2" fmla="*/ 2469351 w 11151248"/>
                <a:gd name="connsiteY2" fmla="*/ 3597479 h 3601285"/>
                <a:gd name="connsiteX3" fmla="*/ 3211303 w 11151248"/>
                <a:gd name="connsiteY3" fmla="*/ 697715 h 3601285"/>
                <a:gd name="connsiteX4" fmla="*/ 5571615 w 11151248"/>
                <a:gd name="connsiteY4" fmla="*/ 719920 h 3601285"/>
                <a:gd name="connsiteX5" fmla="*/ 9249729 w 11151248"/>
                <a:gd name="connsiteY5" fmla="*/ 0 h 3601285"/>
                <a:gd name="connsiteX6" fmla="*/ 11151248 w 11151248"/>
                <a:gd name="connsiteY6" fmla="*/ 759973 h 3601285"/>
                <a:gd name="connsiteX0" fmla="*/ 0 w 11151248"/>
                <a:gd name="connsiteY0" fmla="*/ 1327626 h 3606210"/>
                <a:gd name="connsiteX1" fmla="*/ 1539912 w 11151248"/>
                <a:gd name="connsiteY1" fmla="*/ 1314158 h 3606210"/>
                <a:gd name="connsiteX2" fmla="*/ 2469351 w 11151248"/>
                <a:gd name="connsiteY2" fmla="*/ 3597479 h 3606210"/>
                <a:gd name="connsiteX3" fmla="*/ 3250096 w 11151248"/>
                <a:gd name="connsiteY3" fmla="*/ 359326 h 3606210"/>
                <a:gd name="connsiteX4" fmla="*/ 5571615 w 11151248"/>
                <a:gd name="connsiteY4" fmla="*/ 719920 h 3606210"/>
                <a:gd name="connsiteX5" fmla="*/ 9249729 w 11151248"/>
                <a:gd name="connsiteY5" fmla="*/ 0 h 3606210"/>
                <a:gd name="connsiteX6" fmla="*/ 11151248 w 11151248"/>
                <a:gd name="connsiteY6" fmla="*/ 759973 h 3606210"/>
                <a:gd name="connsiteX0" fmla="*/ 0 w 10879700"/>
                <a:gd name="connsiteY0" fmla="*/ 1327626 h 3606210"/>
                <a:gd name="connsiteX1" fmla="*/ 1539912 w 10879700"/>
                <a:gd name="connsiteY1" fmla="*/ 1314158 h 3606210"/>
                <a:gd name="connsiteX2" fmla="*/ 2469351 w 10879700"/>
                <a:gd name="connsiteY2" fmla="*/ 3597479 h 3606210"/>
                <a:gd name="connsiteX3" fmla="*/ 3250096 w 10879700"/>
                <a:gd name="connsiteY3" fmla="*/ 359326 h 3606210"/>
                <a:gd name="connsiteX4" fmla="*/ 5571615 w 10879700"/>
                <a:gd name="connsiteY4" fmla="*/ 719920 h 3606210"/>
                <a:gd name="connsiteX5" fmla="*/ 9249729 w 10879700"/>
                <a:gd name="connsiteY5" fmla="*/ 0 h 3606210"/>
                <a:gd name="connsiteX6" fmla="*/ 10879700 w 10879700"/>
                <a:gd name="connsiteY6" fmla="*/ 525704 h 3606210"/>
                <a:gd name="connsiteX0" fmla="*/ 0 w 10879700"/>
                <a:gd name="connsiteY0" fmla="*/ 1327626 h 3606210"/>
                <a:gd name="connsiteX1" fmla="*/ 1539912 w 10879700"/>
                <a:gd name="connsiteY1" fmla="*/ 1314158 h 3606210"/>
                <a:gd name="connsiteX2" fmla="*/ 2469351 w 10879700"/>
                <a:gd name="connsiteY2" fmla="*/ 3597479 h 3606210"/>
                <a:gd name="connsiteX3" fmla="*/ 3250096 w 10879700"/>
                <a:gd name="connsiteY3" fmla="*/ 359326 h 3606210"/>
                <a:gd name="connsiteX4" fmla="*/ 5571615 w 10879700"/>
                <a:gd name="connsiteY4" fmla="*/ 719920 h 3606210"/>
                <a:gd name="connsiteX5" fmla="*/ 9249729 w 10879700"/>
                <a:gd name="connsiteY5" fmla="*/ 0 h 3606210"/>
                <a:gd name="connsiteX6" fmla="*/ 10879700 w 10879700"/>
                <a:gd name="connsiteY6" fmla="*/ 525704 h 3606210"/>
                <a:gd name="connsiteX0" fmla="*/ 0 w 10802114"/>
                <a:gd name="connsiteY0" fmla="*/ 1412069 h 3690653"/>
                <a:gd name="connsiteX1" fmla="*/ 1539912 w 10802114"/>
                <a:gd name="connsiteY1" fmla="*/ 1398601 h 3690653"/>
                <a:gd name="connsiteX2" fmla="*/ 2469351 w 10802114"/>
                <a:gd name="connsiteY2" fmla="*/ 3681922 h 3690653"/>
                <a:gd name="connsiteX3" fmla="*/ 3250096 w 10802114"/>
                <a:gd name="connsiteY3" fmla="*/ 443769 h 3690653"/>
                <a:gd name="connsiteX4" fmla="*/ 5571615 w 10802114"/>
                <a:gd name="connsiteY4" fmla="*/ 804363 h 3690653"/>
                <a:gd name="connsiteX5" fmla="*/ 9249729 w 10802114"/>
                <a:gd name="connsiteY5" fmla="*/ 84443 h 3690653"/>
                <a:gd name="connsiteX6" fmla="*/ 10802114 w 10802114"/>
                <a:gd name="connsiteY6" fmla="*/ 232713 h 3690653"/>
                <a:gd name="connsiteX0" fmla="*/ 0 w 10802114"/>
                <a:gd name="connsiteY0" fmla="*/ 1327626 h 3606210"/>
                <a:gd name="connsiteX1" fmla="*/ 1539912 w 10802114"/>
                <a:gd name="connsiteY1" fmla="*/ 1314158 h 3606210"/>
                <a:gd name="connsiteX2" fmla="*/ 2469351 w 10802114"/>
                <a:gd name="connsiteY2" fmla="*/ 3597479 h 3606210"/>
                <a:gd name="connsiteX3" fmla="*/ 3250096 w 10802114"/>
                <a:gd name="connsiteY3" fmla="*/ 359326 h 3606210"/>
                <a:gd name="connsiteX4" fmla="*/ 5571615 w 10802114"/>
                <a:gd name="connsiteY4" fmla="*/ 719920 h 3606210"/>
                <a:gd name="connsiteX5" fmla="*/ 9249729 w 10802114"/>
                <a:gd name="connsiteY5" fmla="*/ 0 h 3606210"/>
                <a:gd name="connsiteX6" fmla="*/ 10802114 w 10802114"/>
                <a:gd name="connsiteY6" fmla="*/ 148270 h 3606210"/>
                <a:gd name="connsiteX0" fmla="*/ 0 w 10802114"/>
                <a:gd name="connsiteY0" fmla="*/ 1327626 h 3606210"/>
                <a:gd name="connsiteX1" fmla="*/ 1539912 w 10802114"/>
                <a:gd name="connsiteY1" fmla="*/ 1314158 h 3606210"/>
                <a:gd name="connsiteX2" fmla="*/ 2469351 w 10802114"/>
                <a:gd name="connsiteY2" fmla="*/ 3597479 h 3606210"/>
                <a:gd name="connsiteX3" fmla="*/ 3250096 w 10802114"/>
                <a:gd name="connsiteY3" fmla="*/ 359326 h 3606210"/>
                <a:gd name="connsiteX4" fmla="*/ 5571615 w 10802114"/>
                <a:gd name="connsiteY4" fmla="*/ 719920 h 3606210"/>
                <a:gd name="connsiteX5" fmla="*/ 9249729 w 10802114"/>
                <a:gd name="connsiteY5" fmla="*/ 0 h 3606210"/>
                <a:gd name="connsiteX6" fmla="*/ 10802114 w 10802114"/>
                <a:gd name="connsiteY6" fmla="*/ 57165 h 3606210"/>
                <a:gd name="connsiteX0" fmla="*/ 0 w 10802114"/>
                <a:gd name="connsiteY0" fmla="*/ 1330603 h 3609187"/>
                <a:gd name="connsiteX1" fmla="*/ 1539912 w 10802114"/>
                <a:gd name="connsiteY1" fmla="*/ 1317135 h 3609187"/>
                <a:gd name="connsiteX2" fmla="*/ 2469351 w 10802114"/>
                <a:gd name="connsiteY2" fmla="*/ 3600456 h 3609187"/>
                <a:gd name="connsiteX3" fmla="*/ 3250096 w 10802114"/>
                <a:gd name="connsiteY3" fmla="*/ 362303 h 3609187"/>
                <a:gd name="connsiteX4" fmla="*/ 5571615 w 10802114"/>
                <a:gd name="connsiteY4" fmla="*/ 722897 h 3609187"/>
                <a:gd name="connsiteX5" fmla="*/ 9249729 w 10802114"/>
                <a:gd name="connsiteY5" fmla="*/ 2977 h 3609187"/>
                <a:gd name="connsiteX6" fmla="*/ 10802114 w 10802114"/>
                <a:gd name="connsiteY6" fmla="*/ 8082 h 3609187"/>
                <a:gd name="connsiteX0" fmla="*/ 0 w 10336604"/>
                <a:gd name="connsiteY0" fmla="*/ 1353471 h 3632055"/>
                <a:gd name="connsiteX1" fmla="*/ 1539912 w 10336604"/>
                <a:gd name="connsiteY1" fmla="*/ 1340003 h 3632055"/>
                <a:gd name="connsiteX2" fmla="*/ 2469351 w 10336604"/>
                <a:gd name="connsiteY2" fmla="*/ 3623324 h 3632055"/>
                <a:gd name="connsiteX3" fmla="*/ 3250096 w 10336604"/>
                <a:gd name="connsiteY3" fmla="*/ 385171 h 3632055"/>
                <a:gd name="connsiteX4" fmla="*/ 5571615 w 10336604"/>
                <a:gd name="connsiteY4" fmla="*/ 745765 h 3632055"/>
                <a:gd name="connsiteX5" fmla="*/ 9249729 w 10336604"/>
                <a:gd name="connsiteY5" fmla="*/ 25845 h 3632055"/>
                <a:gd name="connsiteX6" fmla="*/ 10336604 w 10336604"/>
                <a:gd name="connsiteY6" fmla="*/ 4920 h 3632055"/>
                <a:gd name="connsiteX0" fmla="*/ 0 w 10336604"/>
                <a:gd name="connsiteY0" fmla="*/ 1352675 h 3631259"/>
                <a:gd name="connsiteX1" fmla="*/ 1539912 w 10336604"/>
                <a:gd name="connsiteY1" fmla="*/ 1339207 h 3631259"/>
                <a:gd name="connsiteX2" fmla="*/ 2469351 w 10336604"/>
                <a:gd name="connsiteY2" fmla="*/ 3622528 h 3631259"/>
                <a:gd name="connsiteX3" fmla="*/ 3250096 w 10336604"/>
                <a:gd name="connsiteY3" fmla="*/ 384375 h 3631259"/>
                <a:gd name="connsiteX4" fmla="*/ 5571615 w 10336604"/>
                <a:gd name="connsiteY4" fmla="*/ 744969 h 3631259"/>
                <a:gd name="connsiteX5" fmla="*/ 8719564 w 10336604"/>
                <a:gd name="connsiteY5" fmla="*/ 38064 h 3631259"/>
                <a:gd name="connsiteX6" fmla="*/ 10336604 w 10336604"/>
                <a:gd name="connsiteY6" fmla="*/ 4124 h 3631259"/>
                <a:gd name="connsiteX0" fmla="*/ 0 w 10207296"/>
                <a:gd name="connsiteY0" fmla="*/ 1317589 h 3596173"/>
                <a:gd name="connsiteX1" fmla="*/ 1539912 w 10207296"/>
                <a:gd name="connsiteY1" fmla="*/ 1304121 h 3596173"/>
                <a:gd name="connsiteX2" fmla="*/ 2469351 w 10207296"/>
                <a:gd name="connsiteY2" fmla="*/ 3587442 h 3596173"/>
                <a:gd name="connsiteX3" fmla="*/ 3250096 w 10207296"/>
                <a:gd name="connsiteY3" fmla="*/ 349289 h 3596173"/>
                <a:gd name="connsiteX4" fmla="*/ 5571615 w 10207296"/>
                <a:gd name="connsiteY4" fmla="*/ 709883 h 3596173"/>
                <a:gd name="connsiteX5" fmla="*/ 8719564 w 10207296"/>
                <a:gd name="connsiteY5" fmla="*/ 2978 h 3596173"/>
                <a:gd name="connsiteX6" fmla="*/ 10207296 w 10207296"/>
                <a:gd name="connsiteY6" fmla="*/ 8083 h 359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07296" h="3596173" extrusionOk="0">
                  <a:moveTo>
                    <a:pt x="0" y="1317589"/>
                  </a:moveTo>
                  <a:cubicBezTo>
                    <a:pt x="350448" y="1333763"/>
                    <a:pt x="1128353" y="925812"/>
                    <a:pt x="1539912" y="1304121"/>
                  </a:cubicBezTo>
                  <a:cubicBezTo>
                    <a:pt x="1951471" y="1682430"/>
                    <a:pt x="2184320" y="3746581"/>
                    <a:pt x="2469351" y="3587442"/>
                  </a:cubicBezTo>
                  <a:cubicBezTo>
                    <a:pt x="2754382" y="3428303"/>
                    <a:pt x="2733052" y="828882"/>
                    <a:pt x="3250096" y="349289"/>
                  </a:cubicBezTo>
                  <a:cubicBezTo>
                    <a:pt x="3767140" y="-130304"/>
                    <a:pt x="4540336" y="719411"/>
                    <a:pt x="5571615" y="709883"/>
                  </a:cubicBezTo>
                  <a:cubicBezTo>
                    <a:pt x="6747198" y="507775"/>
                    <a:pt x="6750272" y="239249"/>
                    <a:pt x="8719564" y="2978"/>
                  </a:cubicBezTo>
                  <a:cubicBezTo>
                    <a:pt x="9905104" y="15326"/>
                    <a:pt x="9327484" y="-13021"/>
                    <a:pt x="10207296" y="8083"/>
                  </a:cubicBezTo>
                </a:path>
              </a:pathLst>
            </a:custGeom>
            <a:noFill/>
            <a:ln w="57150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26">
                <a:defRPr/>
              </a:pPr>
              <a:endParaRPr lang="ru-RU" sz="1397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FF3A89AB-094B-62B2-678B-3531822BCF2D}"/>
                </a:ext>
              </a:extLst>
            </p:cNvPr>
            <p:cNvGrpSpPr/>
            <p:nvPr/>
          </p:nvGrpSpPr>
          <p:grpSpPr bwMode="auto">
            <a:xfrm>
              <a:off x="5102190" y="2099573"/>
              <a:ext cx="2421918" cy="1034712"/>
              <a:chOff x="5102190" y="2099573"/>
              <a:chExt cx="2421918" cy="1034712"/>
            </a:xfrm>
          </p:grpSpPr>
          <p:cxnSp>
            <p:nvCxnSpPr>
              <p:cNvPr id="8" name="Прямая со стрелкой 7">
                <a:extLst>
                  <a:ext uri="{FF2B5EF4-FFF2-40B4-BE49-F238E27FC236}">
                    <a16:creationId xmlns:a16="http://schemas.microsoft.com/office/drawing/2014/main" id="{81EBE5F0-11AE-C8CA-F0F9-33BF51B8746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102190" y="2787771"/>
                <a:ext cx="2421918" cy="0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Прямая соединительная линия 8">
                <a:extLst>
                  <a:ext uri="{FF2B5EF4-FFF2-40B4-BE49-F238E27FC236}">
                    <a16:creationId xmlns:a16="http://schemas.microsoft.com/office/drawing/2014/main" id="{1EB2DEA3-24F5-FDFC-3CBB-99B1A2E394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5102190" y="2099573"/>
                <a:ext cx="0" cy="1034712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9EE8D64-11AD-697E-C448-D5864FF99152}"/>
              </a:ext>
            </a:extLst>
          </p:cNvPr>
          <p:cNvSpPr/>
          <p:nvPr/>
        </p:nvSpPr>
        <p:spPr bwMode="auto">
          <a:xfrm>
            <a:off x="876735" y="2331205"/>
            <a:ext cx="1182509" cy="9284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В </a:t>
            </a:r>
            <a:r>
              <a:rPr lang="ru-RU" sz="1016" b="1" kern="0" dirty="0">
                <a:latin typeface="Arial Narrow"/>
                <a:cs typeface="Segoe UI Semibold"/>
              </a:rPr>
              <a:t>прошлом году в компании успешно …</a:t>
            </a:r>
            <a:endParaRPr lang="ru-RU" sz="847" kern="0" dirty="0">
              <a:latin typeface="Arial Narrow"/>
              <a:cs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856433D-DFE3-566B-02EE-EAB38D7683E4}"/>
              </a:ext>
            </a:extLst>
          </p:cNvPr>
          <p:cNvSpPr/>
          <p:nvPr/>
        </p:nvSpPr>
        <p:spPr bwMode="auto">
          <a:xfrm>
            <a:off x="2412324" y="5246440"/>
            <a:ext cx="1511050" cy="9284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Несмотря на ряд позитивных эффектов, обнаружилась проблема….</a:t>
            </a:r>
            <a:endParaRPr lang="ru-RU" sz="847" kern="0" dirty="0">
              <a:solidFill>
                <a:srgbClr val="3C3C3C"/>
              </a:solidFill>
              <a:latin typeface="Arial Narrow"/>
              <a:cs typeface="Arial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BD06F7C-560F-BF45-56E9-2250F2CAB3BA}"/>
              </a:ext>
            </a:extLst>
          </p:cNvPr>
          <p:cNvSpPr/>
          <p:nvPr/>
        </p:nvSpPr>
        <p:spPr bwMode="auto">
          <a:xfrm>
            <a:off x="3220162" y="1635909"/>
            <a:ext cx="1432680" cy="510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Но решение </a:t>
            </a:r>
            <a:b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</a:b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есть…</a:t>
            </a:r>
            <a:endParaRPr lang="ru-RU" sz="847" kern="0" dirty="0">
              <a:solidFill>
                <a:srgbClr val="FC131B"/>
              </a:solidFill>
              <a:latin typeface="Arial Narrow"/>
              <a:cs typeface="Arial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64804B5-78FD-74A1-0D5B-E3F330E383BB}"/>
              </a:ext>
            </a:extLst>
          </p:cNvPr>
          <p:cNvSpPr/>
          <p:nvPr/>
        </p:nvSpPr>
        <p:spPr bwMode="auto">
          <a:xfrm>
            <a:off x="4429668" y="2824511"/>
            <a:ext cx="896916" cy="510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Аргумент 1:</a:t>
            </a:r>
            <a:b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</a:b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…</a:t>
            </a:r>
            <a:endParaRPr lang="ru-RU" sz="847" kern="0" dirty="0">
              <a:solidFill>
                <a:srgbClr val="FC131B"/>
              </a:solidFill>
              <a:latin typeface="Arial Narrow"/>
              <a:cs typeface="Arial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C80E24A-DC5F-E14F-B471-3AD716FA9505}"/>
              </a:ext>
            </a:extLst>
          </p:cNvPr>
          <p:cNvSpPr/>
          <p:nvPr/>
        </p:nvSpPr>
        <p:spPr bwMode="auto">
          <a:xfrm>
            <a:off x="7526081" y="2359835"/>
            <a:ext cx="1006207" cy="510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Чтобы внедрить решение нам необходимо….</a:t>
            </a:r>
            <a:endParaRPr lang="ru-RU" sz="847" kern="0" dirty="0">
              <a:solidFill>
                <a:srgbClr val="3C3C3C"/>
              </a:solidFill>
              <a:latin typeface="Arial Narrow"/>
              <a:cs typeface="Arial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A76CD035-AB68-22AB-6948-E84E45C3DBEC}"/>
              </a:ext>
            </a:extLst>
          </p:cNvPr>
          <p:cNvSpPr/>
          <p:nvPr/>
        </p:nvSpPr>
        <p:spPr bwMode="auto">
          <a:xfrm>
            <a:off x="913964" y="2870778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ru-RU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1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30065570-B3DF-12B8-6902-746B8E136DE3}"/>
              </a:ext>
            </a:extLst>
          </p:cNvPr>
          <p:cNvSpPr/>
          <p:nvPr/>
        </p:nvSpPr>
        <p:spPr bwMode="auto">
          <a:xfrm>
            <a:off x="2412324" y="4853799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2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9AB364DE-FC23-CFD1-DAE6-C531E602A7B4}"/>
              </a:ext>
            </a:extLst>
          </p:cNvPr>
          <p:cNvSpPr/>
          <p:nvPr/>
        </p:nvSpPr>
        <p:spPr bwMode="auto">
          <a:xfrm>
            <a:off x="3285783" y="2078754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3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64AE77DE-6A1F-87C4-7820-1B742FA936BB}"/>
              </a:ext>
            </a:extLst>
          </p:cNvPr>
          <p:cNvSpPr/>
          <p:nvPr/>
        </p:nvSpPr>
        <p:spPr bwMode="auto">
          <a:xfrm>
            <a:off x="4432370" y="2401655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4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F91A646E-0DDC-3A23-E5A3-77DBC2C83187}"/>
              </a:ext>
            </a:extLst>
          </p:cNvPr>
          <p:cNvSpPr/>
          <p:nvPr/>
        </p:nvSpPr>
        <p:spPr bwMode="auto">
          <a:xfrm>
            <a:off x="5503592" y="2279698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5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27175562-D00E-5438-24B0-4186C1E7713B}"/>
              </a:ext>
            </a:extLst>
          </p:cNvPr>
          <p:cNvSpPr/>
          <p:nvPr/>
        </p:nvSpPr>
        <p:spPr bwMode="auto">
          <a:xfrm>
            <a:off x="6482526" y="2094405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6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C0DBE6D1-0DFA-9F4C-859C-C7896B89D435}"/>
              </a:ext>
            </a:extLst>
          </p:cNvPr>
          <p:cNvSpPr/>
          <p:nvPr/>
        </p:nvSpPr>
        <p:spPr bwMode="auto">
          <a:xfrm>
            <a:off x="7567094" y="1926751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7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17A24BE3-F108-078B-A950-C5E988076E52}"/>
              </a:ext>
            </a:extLst>
          </p:cNvPr>
          <p:cNvSpPr/>
          <p:nvPr/>
        </p:nvSpPr>
        <p:spPr bwMode="auto">
          <a:xfrm>
            <a:off x="8900396" y="1926751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8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5CF19767-2D06-7273-7552-DD3D3BE0D760}"/>
              </a:ext>
            </a:extLst>
          </p:cNvPr>
          <p:cNvSpPr/>
          <p:nvPr/>
        </p:nvSpPr>
        <p:spPr bwMode="auto">
          <a:xfrm>
            <a:off x="5523095" y="2698324"/>
            <a:ext cx="896916" cy="510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Аргумент 2:</a:t>
            </a:r>
            <a:b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</a:b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…</a:t>
            </a:r>
            <a:endParaRPr lang="ru-RU" sz="847" kern="0" dirty="0">
              <a:solidFill>
                <a:srgbClr val="FC131B"/>
              </a:solidFill>
              <a:latin typeface="Arial Narrow"/>
              <a:cs typeface="Arial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42F4F55B-C34C-2BC9-C03A-F82B1702D008}"/>
              </a:ext>
            </a:extLst>
          </p:cNvPr>
          <p:cNvSpPr/>
          <p:nvPr/>
        </p:nvSpPr>
        <p:spPr bwMode="auto">
          <a:xfrm>
            <a:off x="6520272" y="2480238"/>
            <a:ext cx="896916" cy="510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Аргумент 3:</a:t>
            </a:r>
            <a:b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</a:b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…</a:t>
            </a:r>
            <a:endParaRPr lang="ru-RU" sz="847" kern="0" dirty="0">
              <a:solidFill>
                <a:srgbClr val="FC131B"/>
              </a:solidFill>
              <a:latin typeface="Arial Narrow"/>
              <a:cs typeface="Arial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4E3128D9-4630-6970-CE46-08CAC3756ED7}"/>
              </a:ext>
            </a:extLst>
          </p:cNvPr>
          <p:cNvSpPr/>
          <p:nvPr/>
        </p:nvSpPr>
        <p:spPr bwMode="auto">
          <a:xfrm>
            <a:off x="8835020" y="2359835"/>
            <a:ext cx="1440980" cy="510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  <a:defRPr/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При успешном внедрении решения проблема будет решена уже к …</a:t>
            </a:r>
            <a:endParaRPr lang="ru-RU" sz="847" kern="0" dirty="0">
              <a:solidFill>
                <a:srgbClr val="3C3C3C"/>
              </a:solidFill>
              <a:latin typeface="Arial Narrow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53043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FF938-4831-823E-E263-3967499C0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847" y="360884"/>
            <a:ext cx="11164215" cy="536128"/>
          </a:xfrm>
        </p:spPr>
        <p:txBody>
          <a:bodyPr>
            <a:normAutofit/>
          </a:bodyPr>
          <a:lstStyle/>
          <a:p>
            <a:r>
              <a:rPr lang="ru-RU" dirty="0">
                <a:ea typeface="Roboto"/>
                <a:cs typeface="Segoe UI"/>
              </a:rPr>
              <a:t>Название презентации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DAB52A-6C09-0779-22AA-DD298333BEF3}"/>
              </a:ext>
            </a:extLst>
          </p:cNvPr>
          <p:cNvSpPr txBox="1"/>
          <p:nvPr/>
        </p:nvSpPr>
        <p:spPr>
          <a:xfrm>
            <a:off x="10035251" y="0"/>
            <a:ext cx="2156749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Технический слайд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Сторилай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: Вызов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6F207E2-30DC-0C55-5CEE-30544DE99FFB}"/>
              </a:ext>
            </a:extLst>
          </p:cNvPr>
          <p:cNvGrpSpPr/>
          <p:nvPr/>
        </p:nvGrpSpPr>
        <p:grpSpPr bwMode="auto">
          <a:xfrm>
            <a:off x="526738" y="1490503"/>
            <a:ext cx="9074756" cy="3876994"/>
            <a:chOff x="5102190" y="2099573"/>
            <a:chExt cx="2421918" cy="1034712"/>
          </a:xfrm>
        </p:grpSpPr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6505926A-0D04-FA30-A718-778B2F624E35}"/>
                </a:ext>
              </a:extLst>
            </p:cNvPr>
            <p:cNvSpPr/>
            <p:nvPr/>
          </p:nvSpPr>
          <p:spPr bwMode="auto">
            <a:xfrm>
              <a:off x="5106338" y="2249843"/>
              <a:ext cx="2268103" cy="627578"/>
            </a:xfrm>
            <a:custGeom>
              <a:avLst/>
              <a:gdLst>
                <a:gd name="connsiteX0" fmla="*/ 0 w 11222966"/>
                <a:gd name="connsiteY0" fmla="*/ 612476 h 3371995"/>
                <a:gd name="connsiteX1" fmla="*/ 828136 w 11222966"/>
                <a:gd name="connsiteY1" fmla="*/ 457200 h 3371995"/>
                <a:gd name="connsiteX2" fmla="*/ 1682151 w 11222966"/>
                <a:gd name="connsiteY2" fmla="*/ 690113 h 3371995"/>
                <a:gd name="connsiteX3" fmla="*/ 2182483 w 11222966"/>
                <a:gd name="connsiteY3" fmla="*/ 3355676 h 3371995"/>
                <a:gd name="connsiteX4" fmla="*/ 3303917 w 11222966"/>
                <a:gd name="connsiteY4" fmla="*/ 1751162 h 3371995"/>
                <a:gd name="connsiteX5" fmla="*/ 4701396 w 11222966"/>
                <a:gd name="connsiteY5" fmla="*/ 517585 h 3371995"/>
                <a:gd name="connsiteX6" fmla="*/ 10136038 w 11222966"/>
                <a:gd name="connsiteY6" fmla="*/ 146649 h 3371995"/>
                <a:gd name="connsiteX7" fmla="*/ 11222966 w 11222966"/>
                <a:gd name="connsiteY7" fmla="*/ 0 h 3371995"/>
                <a:gd name="connsiteX0" fmla="*/ 0 w 11222966"/>
                <a:gd name="connsiteY0" fmla="*/ 612476 h 3447658"/>
                <a:gd name="connsiteX1" fmla="*/ 828136 w 11222966"/>
                <a:gd name="connsiteY1" fmla="*/ 457200 h 3447658"/>
                <a:gd name="connsiteX2" fmla="*/ 1682151 w 11222966"/>
                <a:gd name="connsiteY2" fmla="*/ 690113 h 3447658"/>
                <a:gd name="connsiteX3" fmla="*/ 2182483 w 11222966"/>
                <a:gd name="connsiteY3" fmla="*/ 3355676 h 3447658"/>
                <a:gd name="connsiteX4" fmla="*/ 4718830 w 11222966"/>
                <a:gd name="connsiteY4" fmla="*/ 2617436 h 3447658"/>
                <a:gd name="connsiteX5" fmla="*/ 4701396 w 11222966"/>
                <a:gd name="connsiteY5" fmla="*/ 517585 h 3447658"/>
                <a:gd name="connsiteX6" fmla="*/ 10136038 w 11222966"/>
                <a:gd name="connsiteY6" fmla="*/ 146649 h 3447658"/>
                <a:gd name="connsiteX7" fmla="*/ 11222966 w 11222966"/>
                <a:gd name="connsiteY7" fmla="*/ 0 h 3447658"/>
                <a:gd name="connsiteX0" fmla="*/ 0 w 11222966"/>
                <a:gd name="connsiteY0" fmla="*/ 612476 h 3334854"/>
                <a:gd name="connsiteX1" fmla="*/ 828136 w 11222966"/>
                <a:gd name="connsiteY1" fmla="*/ 457200 h 3334854"/>
                <a:gd name="connsiteX2" fmla="*/ 1682151 w 11222966"/>
                <a:gd name="connsiteY2" fmla="*/ 690113 h 3334854"/>
                <a:gd name="connsiteX3" fmla="*/ 3154635 w 11222966"/>
                <a:gd name="connsiteY3" fmla="*/ 3230548 h 3334854"/>
                <a:gd name="connsiteX4" fmla="*/ 4718830 w 11222966"/>
                <a:gd name="connsiteY4" fmla="*/ 2617436 h 3334854"/>
                <a:gd name="connsiteX5" fmla="*/ 4701396 w 11222966"/>
                <a:gd name="connsiteY5" fmla="*/ 517585 h 3334854"/>
                <a:gd name="connsiteX6" fmla="*/ 10136038 w 11222966"/>
                <a:gd name="connsiteY6" fmla="*/ 146649 h 3334854"/>
                <a:gd name="connsiteX7" fmla="*/ 11222966 w 11222966"/>
                <a:gd name="connsiteY7" fmla="*/ 0 h 3334854"/>
                <a:gd name="connsiteX0" fmla="*/ 0 w 11222966"/>
                <a:gd name="connsiteY0" fmla="*/ 612476 h 3303445"/>
                <a:gd name="connsiteX1" fmla="*/ 828136 w 11222966"/>
                <a:gd name="connsiteY1" fmla="*/ 457200 h 3303445"/>
                <a:gd name="connsiteX2" fmla="*/ 1682151 w 11222966"/>
                <a:gd name="connsiteY2" fmla="*/ 690113 h 3303445"/>
                <a:gd name="connsiteX3" fmla="*/ 3154635 w 11222966"/>
                <a:gd name="connsiteY3" fmla="*/ 3230548 h 3303445"/>
                <a:gd name="connsiteX4" fmla="*/ 4718830 w 11222966"/>
                <a:gd name="connsiteY4" fmla="*/ 2617436 h 3303445"/>
                <a:gd name="connsiteX5" fmla="*/ 4688048 w 11222966"/>
                <a:gd name="connsiteY5" fmla="*/ 2657026 h 3303445"/>
                <a:gd name="connsiteX6" fmla="*/ 4701396 w 11222966"/>
                <a:gd name="connsiteY6" fmla="*/ 517585 h 3303445"/>
                <a:gd name="connsiteX7" fmla="*/ 10136038 w 11222966"/>
                <a:gd name="connsiteY7" fmla="*/ 146649 h 3303445"/>
                <a:gd name="connsiteX8" fmla="*/ 11222966 w 11222966"/>
                <a:gd name="connsiteY8" fmla="*/ 0 h 3303445"/>
                <a:gd name="connsiteX0" fmla="*/ 0 w 11222966"/>
                <a:gd name="connsiteY0" fmla="*/ 612476 h 3334854"/>
                <a:gd name="connsiteX1" fmla="*/ 828136 w 11222966"/>
                <a:gd name="connsiteY1" fmla="*/ 457200 h 3334854"/>
                <a:gd name="connsiteX2" fmla="*/ 1682151 w 11222966"/>
                <a:gd name="connsiteY2" fmla="*/ 690113 h 3334854"/>
                <a:gd name="connsiteX3" fmla="*/ 3154635 w 11222966"/>
                <a:gd name="connsiteY3" fmla="*/ 3230548 h 3334854"/>
                <a:gd name="connsiteX4" fmla="*/ 4718830 w 11222966"/>
                <a:gd name="connsiteY4" fmla="*/ 2617436 h 3334854"/>
                <a:gd name="connsiteX5" fmla="*/ 4701396 w 11222966"/>
                <a:gd name="connsiteY5" fmla="*/ 517585 h 3334854"/>
                <a:gd name="connsiteX6" fmla="*/ 10136038 w 11222966"/>
                <a:gd name="connsiteY6" fmla="*/ 146649 h 3334854"/>
                <a:gd name="connsiteX7" fmla="*/ 11222966 w 11222966"/>
                <a:gd name="connsiteY7" fmla="*/ 0 h 3334854"/>
                <a:gd name="connsiteX0" fmla="*/ 0 w 11222966"/>
                <a:gd name="connsiteY0" fmla="*/ 612476 h 3230839"/>
                <a:gd name="connsiteX1" fmla="*/ 828136 w 11222966"/>
                <a:gd name="connsiteY1" fmla="*/ 457200 h 3230839"/>
                <a:gd name="connsiteX2" fmla="*/ 1682151 w 11222966"/>
                <a:gd name="connsiteY2" fmla="*/ 690113 h 3230839"/>
                <a:gd name="connsiteX3" fmla="*/ 3154635 w 11222966"/>
                <a:gd name="connsiteY3" fmla="*/ 3230548 h 3230839"/>
                <a:gd name="connsiteX4" fmla="*/ 4701396 w 11222966"/>
                <a:gd name="connsiteY4" fmla="*/ 517585 h 3230839"/>
                <a:gd name="connsiteX5" fmla="*/ 10136038 w 11222966"/>
                <a:gd name="connsiteY5" fmla="*/ 146649 h 3230839"/>
                <a:gd name="connsiteX6" fmla="*/ 11222966 w 11222966"/>
                <a:gd name="connsiteY6" fmla="*/ 0 h 3230839"/>
                <a:gd name="connsiteX0" fmla="*/ 0 w 11222966"/>
                <a:gd name="connsiteY0" fmla="*/ 612476 h 3230836"/>
                <a:gd name="connsiteX1" fmla="*/ 1682151 w 11222966"/>
                <a:gd name="connsiteY1" fmla="*/ 690113 h 3230836"/>
                <a:gd name="connsiteX2" fmla="*/ 3154635 w 11222966"/>
                <a:gd name="connsiteY2" fmla="*/ 3230548 h 3230836"/>
                <a:gd name="connsiteX3" fmla="*/ 4701396 w 11222966"/>
                <a:gd name="connsiteY3" fmla="*/ 517585 h 3230836"/>
                <a:gd name="connsiteX4" fmla="*/ 10136038 w 11222966"/>
                <a:gd name="connsiteY4" fmla="*/ 146649 h 3230836"/>
                <a:gd name="connsiteX5" fmla="*/ 11222966 w 11222966"/>
                <a:gd name="connsiteY5" fmla="*/ 0 h 3230836"/>
                <a:gd name="connsiteX0" fmla="*/ 0 w 11222966"/>
                <a:gd name="connsiteY0" fmla="*/ 612476 h 3194981"/>
                <a:gd name="connsiteX1" fmla="*/ 1682151 w 11222966"/>
                <a:gd name="connsiteY1" fmla="*/ 690113 h 3194981"/>
                <a:gd name="connsiteX2" fmla="*/ 2482282 w 11222966"/>
                <a:gd name="connsiteY2" fmla="*/ 3194689 h 3194981"/>
                <a:gd name="connsiteX3" fmla="*/ 4701396 w 11222966"/>
                <a:gd name="connsiteY3" fmla="*/ 517585 h 3194981"/>
                <a:gd name="connsiteX4" fmla="*/ 10136038 w 11222966"/>
                <a:gd name="connsiteY4" fmla="*/ 146649 h 3194981"/>
                <a:gd name="connsiteX5" fmla="*/ 11222966 w 11222966"/>
                <a:gd name="connsiteY5" fmla="*/ 0 h 3194981"/>
                <a:gd name="connsiteX0" fmla="*/ 0 w 11222966"/>
                <a:gd name="connsiteY0" fmla="*/ 612476 h 3196916"/>
                <a:gd name="connsiteX1" fmla="*/ 1682151 w 11222966"/>
                <a:gd name="connsiteY1" fmla="*/ 690113 h 3196916"/>
                <a:gd name="connsiteX2" fmla="*/ 2482282 w 11222966"/>
                <a:gd name="connsiteY2" fmla="*/ 3194689 h 3196916"/>
                <a:gd name="connsiteX3" fmla="*/ 3948361 w 11222966"/>
                <a:gd name="connsiteY3" fmla="*/ 203820 h 3196916"/>
                <a:gd name="connsiteX4" fmla="*/ 10136038 w 11222966"/>
                <a:gd name="connsiteY4" fmla="*/ 146649 h 3196916"/>
                <a:gd name="connsiteX5" fmla="*/ 11222966 w 11222966"/>
                <a:gd name="connsiteY5" fmla="*/ 0 h 3196916"/>
                <a:gd name="connsiteX0" fmla="*/ 0 w 11222966"/>
                <a:gd name="connsiteY0" fmla="*/ 695025 h 3279465"/>
                <a:gd name="connsiteX1" fmla="*/ 1682151 w 11222966"/>
                <a:gd name="connsiteY1" fmla="*/ 772662 h 3279465"/>
                <a:gd name="connsiteX2" fmla="*/ 2482282 w 11222966"/>
                <a:gd name="connsiteY2" fmla="*/ 3277238 h 3279465"/>
                <a:gd name="connsiteX3" fmla="*/ 3948361 w 11222966"/>
                <a:gd name="connsiteY3" fmla="*/ 286369 h 3279465"/>
                <a:gd name="connsiteX4" fmla="*/ 5921780 w 11222966"/>
                <a:gd name="connsiteY4" fmla="*/ 113672 h 3279465"/>
                <a:gd name="connsiteX5" fmla="*/ 10136038 w 11222966"/>
                <a:gd name="connsiteY5" fmla="*/ 229198 h 3279465"/>
                <a:gd name="connsiteX6" fmla="*/ 11222966 w 11222966"/>
                <a:gd name="connsiteY6" fmla="*/ 82549 h 3279465"/>
                <a:gd name="connsiteX0" fmla="*/ 0 w 11222966"/>
                <a:gd name="connsiteY0" fmla="*/ 620536 h 3204976"/>
                <a:gd name="connsiteX1" fmla="*/ 1682151 w 11222966"/>
                <a:gd name="connsiteY1" fmla="*/ 698173 h 3204976"/>
                <a:gd name="connsiteX2" fmla="*/ 2482282 w 11222966"/>
                <a:gd name="connsiteY2" fmla="*/ 3202749 h 3204976"/>
                <a:gd name="connsiteX3" fmla="*/ 3948361 w 11222966"/>
                <a:gd name="connsiteY3" fmla="*/ 211880 h 3204976"/>
                <a:gd name="connsiteX4" fmla="*/ 5894886 w 11222966"/>
                <a:gd name="connsiteY4" fmla="*/ 299160 h 3204976"/>
                <a:gd name="connsiteX5" fmla="*/ 10136038 w 11222966"/>
                <a:gd name="connsiteY5" fmla="*/ 154709 h 3204976"/>
                <a:gd name="connsiteX6" fmla="*/ 11222966 w 11222966"/>
                <a:gd name="connsiteY6" fmla="*/ 8060 h 3204976"/>
                <a:gd name="connsiteX0" fmla="*/ 0 w 11222966"/>
                <a:gd name="connsiteY0" fmla="*/ 620536 h 3204976"/>
                <a:gd name="connsiteX1" fmla="*/ 1682151 w 11222966"/>
                <a:gd name="connsiteY1" fmla="*/ 698173 h 3204976"/>
                <a:gd name="connsiteX2" fmla="*/ 2482282 w 11222966"/>
                <a:gd name="connsiteY2" fmla="*/ 3202749 h 3204976"/>
                <a:gd name="connsiteX3" fmla="*/ 3948361 w 11222966"/>
                <a:gd name="connsiteY3" fmla="*/ 211880 h 3204976"/>
                <a:gd name="connsiteX4" fmla="*/ 5894886 w 11222966"/>
                <a:gd name="connsiteY4" fmla="*/ 299160 h 3204976"/>
                <a:gd name="connsiteX5" fmla="*/ 10136038 w 11222966"/>
                <a:gd name="connsiteY5" fmla="*/ 154709 h 3204976"/>
                <a:gd name="connsiteX6" fmla="*/ 11222966 w 11222966"/>
                <a:gd name="connsiteY6" fmla="*/ 8060 h 3204976"/>
                <a:gd name="connsiteX0" fmla="*/ 0 w 11222966"/>
                <a:gd name="connsiteY0" fmla="*/ 909090 h 3493530"/>
                <a:gd name="connsiteX1" fmla="*/ 1682151 w 11222966"/>
                <a:gd name="connsiteY1" fmla="*/ 986727 h 3493530"/>
                <a:gd name="connsiteX2" fmla="*/ 2482282 w 11222966"/>
                <a:gd name="connsiteY2" fmla="*/ 3491303 h 3493530"/>
                <a:gd name="connsiteX3" fmla="*/ 3948361 w 11222966"/>
                <a:gd name="connsiteY3" fmla="*/ 500434 h 3493530"/>
                <a:gd name="connsiteX4" fmla="*/ 5894886 w 11222966"/>
                <a:gd name="connsiteY4" fmla="*/ 587714 h 3493530"/>
                <a:gd name="connsiteX5" fmla="*/ 9849168 w 11222966"/>
                <a:gd name="connsiteY5" fmla="*/ 12957 h 3493530"/>
                <a:gd name="connsiteX6" fmla="*/ 11222966 w 11222966"/>
                <a:gd name="connsiteY6" fmla="*/ 296614 h 3493530"/>
                <a:gd name="connsiteX0" fmla="*/ 0 w 11151248"/>
                <a:gd name="connsiteY0" fmla="*/ 907871 h 3492311"/>
                <a:gd name="connsiteX1" fmla="*/ 1682151 w 11151248"/>
                <a:gd name="connsiteY1" fmla="*/ 985508 h 3492311"/>
                <a:gd name="connsiteX2" fmla="*/ 2482282 w 11151248"/>
                <a:gd name="connsiteY2" fmla="*/ 3490084 h 3492311"/>
                <a:gd name="connsiteX3" fmla="*/ 3948361 w 11151248"/>
                <a:gd name="connsiteY3" fmla="*/ 499215 h 3492311"/>
                <a:gd name="connsiteX4" fmla="*/ 5894886 w 11151248"/>
                <a:gd name="connsiteY4" fmla="*/ 586495 h 3492311"/>
                <a:gd name="connsiteX5" fmla="*/ 9849168 w 11151248"/>
                <a:gd name="connsiteY5" fmla="*/ 11738 h 3492311"/>
                <a:gd name="connsiteX6" fmla="*/ 11151248 w 11151248"/>
                <a:gd name="connsiteY6" fmla="*/ 340218 h 3492311"/>
                <a:gd name="connsiteX0" fmla="*/ 0 w 11151248"/>
                <a:gd name="connsiteY0" fmla="*/ 915933 h 3500373"/>
                <a:gd name="connsiteX1" fmla="*/ 1682151 w 11151248"/>
                <a:gd name="connsiteY1" fmla="*/ 993570 h 3500373"/>
                <a:gd name="connsiteX2" fmla="*/ 2482282 w 11151248"/>
                <a:gd name="connsiteY2" fmla="*/ 3498146 h 3500373"/>
                <a:gd name="connsiteX3" fmla="*/ 3948361 w 11151248"/>
                <a:gd name="connsiteY3" fmla="*/ 507277 h 3500373"/>
                <a:gd name="connsiteX4" fmla="*/ 5894886 w 11151248"/>
                <a:gd name="connsiteY4" fmla="*/ 594557 h 3500373"/>
                <a:gd name="connsiteX5" fmla="*/ 9849168 w 11151248"/>
                <a:gd name="connsiteY5" fmla="*/ 19800 h 3500373"/>
                <a:gd name="connsiteX6" fmla="*/ 11151248 w 11151248"/>
                <a:gd name="connsiteY6" fmla="*/ 348280 h 3500373"/>
                <a:gd name="connsiteX0" fmla="*/ 0 w 11151248"/>
                <a:gd name="connsiteY0" fmla="*/ 1105145 h 3689585"/>
                <a:gd name="connsiteX1" fmla="*/ 1682151 w 11151248"/>
                <a:gd name="connsiteY1" fmla="*/ 1182782 h 3689585"/>
                <a:gd name="connsiteX2" fmla="*/ 2482282 w 11151248"/>
                <a:gd name="connsiteY2" fmla="*/ 3687358 h 3689585"/>
                <a:gd name="connsiteX3" fmla="*/ 3948361 w 11151248"/>
                <a:gd name="connsiteY3" fmla="*/ 696489 h 3689585"/>
                <a:gd name="connsiteX4" fmla="*/ 5894886 w 11151248"/>
                <a:gd name="connsiteY4" fmla="*/ 783769 h 3689585"/>
                <a:gd name="connsiteX5" fmla="*/ 9391968 w 11151248"/>
                <a:gd name="connsiteY5" fmla="*/ 11789 h 3689585"/>
                <a:gd name="connsiteX6" fmla="*/ 11151248 w 11151248"/>
                <a:gd name="connsiteY6" fmla="*/ 537492 h 3689585"/>
                <a:gd name="connsiteX0" fmla="*/ 0 w 11151248"/>
                <a:gd name="connsiteY0" fmla="*/ 1093356 h 3677796"/>
                <a:gd name="connsiteX1" fmla="*/ 1682151 w 11151248"/>
                <a:gd name="connsiteY1" fmla="*/ 1170993 h 3677796"/>
                <a:gd name="connsiteX2" fmla="*/ 2482282 w 11151248"/>
                <a:gd name="connsiteY2" fmla="*/ 3675569 h 3677796"/>
                <a:gd name="connsiteX3" fmla="*/ 3948361 w 11151248"/>
                <a:gd name="connsiteY3" fmla="*/ 684700 h 3677796"/>
                <a:gd name="connsiteX4" fmla="*/ 5894886 w 11151248"/>
                <a:gd name="connsiteY4" fmla="*/ 771980 h 3677796"/>
                <a:gd name="connsiteX5" fmla="*/ 9391968 w 11151248"/>
                <a:gd name="connsiteY5" fmla="*/ 0 h 3677796"/>
                <a:gd name="connsiteX6" fmla="*/ 11151248 w 11151248"/>
                <a:gd name="connsiteY6" fmla="*/ 525703 h 3677796"/>
                <a:gd name="connsiteX0" fmla="*/ 0 w 11151248"/>
                <a:gd name="connsiteY0" fmla="*/ 1093356 h 3677796"/>
                <a:gd name="connsiteX1" fmla="*/ 1682151 w 11151248"/>
                <a:gd name="connsiteY1" fmla="*/ 1170993 h 3677796"/>
                <a:gd name="connsiteX2" fmla="*/ 2482282 w 11151248"/>
                <a:gd name="connsiteY2" fmla="*/ 3675569 h 3677796"/>
                <a:gd name="connsiteX3" fmla="*/ 3948361 w 11151248"/>
                <a:gd name="connsiteY3" fmla="*/ 684700 h 3677796"/>
                <a:gd name="connsiteX4" fmla="*/ 5894886 w 11151248"/>
                <a:gd name="connsiteY4" fmla="*/ 771980 h 3677796"/>
                <a:gd name="connsiteX5" fmla="*/ 9391968 w 11151248"/>
                <a:gd name="connsiteY5" fmla="*/ 0 h 3677796"/>
                <a:gd name="connsiteX6" fmla="*/ 11151248 w 11151248"/>
                <a:gd name="connsiteY6" fmla="*/ 525703 h 3677796"/>
                <a:gd name="connsiteX0" fmla="*/ 0 w 11151248"/>
                <a:gd name="connsiteY0" fmla="*/ 1093356 h 3676997"/>
                <a:gd name="connsiteX1" fmla="*/ 1539912 w 11151248"/>
                <a:gd name="connsiteY1" fmla="*/ 1079888 h 3676997"/>
                <a:gd name="connsiteX2" fmla="*/ 2482282 w 11151248"/>
                <a:gd name="connsiteY2" fmla="*/ 3675569 h 3676997"/>
                <a:gd name="connsiteX3" fmla="*/ 3948361 w 11151248"/>
                <a:gd name="connsiteY3" fmla="*/ 684700 h 3676997"/>
                <a:gd name="connsiteX4" fmla="*/ 5894886 w 11151248"/>
                <a:gd name="connsiteY4" fmla="*/ 771980 h 3676997"/>
                <a:gd name="connsiteX5" fmla="*/ 9391968 w 11151248"/>
                <a:gd name="connsiteY5" fmla="*/ 0 h 3676997"/>
                <a:gd name="connsiteX6" fmla="*/ 11151248 w 11151248"/>
                <a:gd name="connsiteY6" fmla="*/ 525703 h 3676997"/>
                <a:gd name="connsiteX0" fmla="*/ 0 w 11151248"/>
                <a:gd name="connsiteY0" fmla="*/ 1093356 h 3364822"/>
                <a:gd name="connsiteX1" fmla="*/ 1539912 w 11151248"/>
                <a:gd name="connsiteY1" fmla="*/ 1079888 h 3364822"/>
                <a:gd name="connsiteX2" fmla="*/ 2469351 w 11151248"/>
                <a:gd name="connsiteY2" fmla="*/ 3363209 h 3364822"/>
                <a:gd name="connsiteX3" fmla="*/ 3948361 w 11151248"/>
                <a:gd name="connsiteY3" fmla="*/ 684700 h 3364822"/>
                <a:gd name="connsiteX4" fmla="*/ 5894886 w 11151248"/>
                <a:gd name="connsiteY4" fmla="*/ 771980 h 3364822"/>
                <a:gd name="connsiteX5" fmla="*/ 9391968 w 11151248"/>
                <a:gd name="connsiteY5" fmla="*/ 0 h 3364822"/>
                <a:gd name="connsiteX6" fmla="*/ 11151248 w 11151248"/>
                <a:gd name="connsiteY6" fmla="*/ 525703 h 3364822"/>
                <a:gd name="connsiteX0" fmla="*/ 0 w 11151248"/>
                <a:gd name="connsiteY0" fmla="*/ 1093356 h 3367015"/>
                <a:gd name="connsiteX1" fmla="*/ 1539912 w 11151248"/>
                <a:gd name="connsiteY1" fmla="*/ 1079888 h 3367015"/>
                <a:gd name="connsiteX2" fmla="*/ 2469351 w 11151248"/>
                <a:gd name="connsiteY2" fmla="*/ 3363209 h 3367015"/>
                <a:gd name="connsiteX3" fmla="*/ 3211303 w 11151248"/>
                <a:gd name="connsiteY3" fmla="*/ 463445 h 3367015"/>
                <a:gd name="connsiteX4" fmla="*/ 5894886 w 11151248"/>
                <a:gd name="connsiteY4" fmla="*/ 771980 h 3367015"/>
                <a:gd name="connsiteX5" fmla="*/ 9391968 w 11151248"/>
                <a:gd name="connsiteY5" fmla="*/ 0 h 3367015"/>
                <a:gd name="connsiteX6" fmla="*/ 11151248 w 11151248"/>
                <a:gd name="connsiteY6" fmla="*/ 525703 h 3367015"/>
                <a:gd name="connsiteX0" fmla="*/ 0 w 11151248"/>
                <a:gd name="connsiteY0" fmla="*/ 1093356 h 3367015"/>
                <a:gd name="connsiteX1" fmla="*/ 1539912 w 11151248"/>
                <a:gd name="connsiteY1" fmla="*/ 1079888 h 3367015"/>
                <a:gd name="connsiteX2" fmla="*/ 2469351 w 11151248"/>
                <a:gd name="connsiteY2" fmla="*/ 3363209 h 3367015"/>
                <a:gd name="connsiteX3" fmla="*/ 3211303 w 11151248"/>
                <a:gd name="connsiteY3" fmla="*/ 463445 h 3367015"/>
                <a:gd name="connsiteX4" fmla="*/ 5571615 w 11151248"/>
                <a:gd name="connsiteY4" fmla="*/ 485650 h 3367015"/>
                <a:gd name="connsiteX5" fmla="*/ 9391968 w 11151248"/>
                <a:gd name="connsiteY5" fmla="*/ 0 h 3367015"/>
                <a:gd name="connsiteX6" fmla="*/ 11151248 w 11151248"/>
                <a:gd name="connsiteY6" fmla="*/ 525703 h 3367015"/>
                <a:gd name="connsiteX0" fmla="*/ 0 w 11151248"/>
                <a:gd name="connsiteY0" fmla="*/ 1093356 h 3367015"/>
                <a:gd name="connsiteX1" fmla="*/ 1539912 w 11151248"/>
                <a:gd name="connsiteY1" fmla="*/ 1079888 h 3367015"/>
                <a:gd name="connsiteX2" fmla="*/ 2469351 w 11151248"/>
                <a:gd name="connsiteY2" fmla="*/ 3363209 h 3367015"/>
                <a:gd name="connsiteX3" fmla="*/ 3211303 w 11151248"/>
                <a:gd name="connsiteY3" fmla="*/ 463445 h 3367015"/>
                <a:gd name="connsiteX4" fmla="*/ 5571615 w 11151248"/>
                <a:gd name="connsiteY4" fmla="*/ 485650 h 3367015"/>
                <a:gd name="connsiteX5" fmla="*/ 9391968 w 11151248"/>
                <a:gd name="connsiteY5" fmla="*/ 0 h 3367015"/>
                <a:gd name="connsiteX6" fmla="*/ 11151248 w 11151248"/>
                <a:gd name="connsiteY6" fmla="*/ 525703 h 3367015"/>
                <a:gd name="connsiteX0" fmla="*/ 0 w 11151248"/>
                <a:gd name="connsiteY0" fmla="*/ 1327626 h 3601285"/>
                <a:gd name="connsiteX1" fmla="*/ 1539912 w 11151248"/>
                <a:gd name="connsiteY1" fmla="*/ 1314158 h 3601285"/>
                <a:gd name="connsiteX2" fmla="*/ 2469351 w 11151248"/>
                <a:gd name="connsiteY2" fmla="*/ 3597479 h 3601285"/>
                <a:gd name="connsiteX3" fmla="*/ 3211303 w 11151248"/>
                <a:gd name="connsiteY3" fmla="*/ 697715 h 3601285"/>
                <a:gd name="connsiteX4" fmla="*/ 5571615 w 11151248"/>
                <a:gd name="connsiteY4" fmla="*/ 719920 h 3601285"/>
                <a:gd name="connsiteX5" fmla="*/ 9249729 w 11151248"/>
                <a:gd name="connsiteY5" fmla="*/ 0 h 3601285"/>
                <a:gd name="connsiteX6" fmla="*/ 11151248 w 11151248"/>
                <a:gd name="connsiteY6" fmla="*/ 759973 h 3601285"/>
                <a:gd name="connsiteX0" fmla="*/ 0 w 11151248"/>
                <a:gd name="connsiteY0" fmla="*/ 1327626 h 3601285"/>
                <a:gd name="connsiteX1" fmla="*/ 1539912 w 11151248"/>
                <a:gd name="connsiteY1" fmla="*/ 1314158 h 3601285"/>
                <a:gd name="connsiteX2" fmla="*/ 2469351 w 11151248"/>
                <a:gd name="connsiteY2" fmla="*/ 3597479 h 3601285"/>
                <a:gd name="connsiteX3" fmla="*/ 3211303 w 11151248"/>
                <a:gd name="connsiteY3" fmla="*/ 697715 h 3601285"/>
                <a:gd name="connsiteX4" fmla="*/ 5571615 w 11151248"/>
                <a:gd name="connsiteY4" fmla="*/ 719920 h 3601285"/>
                <a:gd name="connsiteX5" fmla="*/ 9249729 w 11151248"/>
                <a:gd name="connsiteY5" fmla="*/ 0 h 3601285"/>
                <a:gd name="connsiteX6" fmla="*/ 11151248 w 11151248"/>
                <a:gd name="connsiteY6" fmla="*/ 759973 h 3601285"/>
                <a:gd name="connsiteX0" fmla="*/ 0 w 11151248"/>
                <a:gd name="connsiteY0" fmla="*/ 1327626 h 3606210"/>
                <a:gd name="connsiteX1" fmla="*/ 1539912 w 11151248"/>
                <a:gd name="connsiteY1" fmla="*/ 1314158 h 3606210"/>
                <a:gd name="connsiteX2" fmla="*/ 2469351 w 11151248"/>
                <a:gd name="connsiteY2" fmla="*/ 3597479 h 3606210"/>
                <a:gd name="connsiteX3" fmla="*/ 3250096 w 11151248"/>
                <a:gd name="connsiteY3" fmla="*/ 359326 h 3606210"/>
                <a:gd name="connsiteX4" fmla="*/ 5571615 w 11151248"/>
                <a:gd name="connsiteY4" fmla="*/ 719920 h 3606210"/>
                <a:gd name="connsiteX5" fmla="*/ 9249729 w 11151248"/>
                <a:gd name="connsiteY5" fmla="*/ 0 h 3606210"/>
                <a:gd name="connsiteX6" fmla="*/ 11151248 w 11151248"/>
                <a:gd name="connsiteY6" fmla="*/ 759973 h 3606210"/>
                <a:gd name="connsiteX0" fmla="*/ 0 w 10879700"/>
                <a:gd name="connsiteY0" fmla="*/ 1327626 h 3606210"/>
                <a:gd name="connsiteX1" fmla="*/ 1539912 w 10879700"/>
                <a:gd name="connsiteY1" fmla="*/ 1314158 h 3606210"/>
                <a:gd name="connsiteX2" fmla="*/ 2469351 w 10879700"/>
                <a:gd name="connsiteY2" fmla="*/ 3597479 h 3606210"/>
                <a:gd name="connsiteX3" fmla="*/ 3250096 w 10879700"/>
                <a:gd name="connsiteY3" fmla="*/ 359326 h 3606210"/>
                <a:gd name="connsiteX4" fmla="*/ 5571615 w 10879700"/>
                <a:gd name="connsiteY4" fmla="*/ 719920 h 3606210"/>
                <a:gd name="connsiteX5" fmla="*/ 9249729 w 10879700"/>
                <a:gd name="connsiteY5" fmla="*/ 0 h 3606210"/>
                <a:gd name="connsiteX6" fmla="*/ 10879700 w 10879700"/>
                <a:gd name="connsiteY6" fmla="*/ 525704 h 3606210"/>
                <a:gd name="connsiteX0" fmla="*/ 0 w 10879700"/>
                <a:gd name="connsiteY0" fmla="*/ 1327626 h 3606210"/>
                <a:gd name="connsiteX1" fmla="*/ 1539912 w 10879700"/>
                <a:gd name="connsiteY1" fmla="*/ 1314158 h 3606210"/>
                <a:gd name="connsiteX2" fmla="*/ 2469351 w 10879700"/>
                <a:gd name="connsiteY2" fmla="*/ 3597479 h 3606210"/>
                <a:gd name="connsiteX3" fmla="*/ 3250096 w 10879700"/>
                <a:gd name="connsiteY3" fmla="*/ 359326 h 3606210"/>
                <a:gd name="connsiteX4" fmla="*/ 5571615 w 10879700"/>
                <a:gd name="connsiteY4" fmla="*/ 719920 h 3606210"/>
                <a:gd name="connsiteX5" fmla="*/ 9249729 w 10879700"/>
                <a:gd name="connsiteY5" fmla="*/ 0 h 3606210"/>
                <a:gd name="connsiteX6" fmla="*/ 10879700 w 10879700"/>
                <a:gd name="connsiteY6" fmla="*/ 525704 h 3606210"/>
                <a:gd name="connsiteX0" fmla="*/ 0 w 10802114"/>
                <a:gd name="connsiteY0" fmla="*/ 1412069 h 3690653"/>
                <a:gd name="connsiteX1" fmla="*/ 1539912 w 10802114"/>
                <a:gd name="connsiteY1" fmla="*/ 1398601 h 3690653"/>
                <a:gd name="connsiteX2" fmla="*/ 2469351 w 10802114"/>
                <a:gd name="connsiteY2" fmla="*/ 3681922 h 3690653"/>
                <a:gd name="connsiteX3" fmla="*/ 3250096 w 10802114"/>
                <a:gd name="connsiteY3" fmla="*/ 443769 h 3690653"/>
                <a:gd name="connsiteX4" fmla="*/ 5571615 w 10802114"/>
                <a:gd name="connsiteY4" fmla="*/ 804363 h 3690653"/>
                <a:gd name="connsiteX5" fmla="*/ 9249729 w 10802114"/>
                <a:gd name="connsiteY5" fmla="*/ 84443 h 3690653"/>
                <a:gd name="connsiteX6" fmla="*/ 10802114 w 10802114"/>
                <a:gd name="connsiteY6" fmla="*/ 232713 h 3690653"/>
                <a:gd name="connsiteX0" fmla="*/ 0 w 10802114"/>
                <a:gd name="connsiteY0" fmla="*/ 1327626 h 3606210"/>
                <a:gd name="connsiteX1" fmla="*/ 1539912 w 10802114"/>
                <a:gd name="connsiteY1" fmla="*/ 1314158 h 3606210"/>
                <a:gd name="connsiteX2" fmla="*/ 2469351 w 10802114"/>
                <a:gd name="connsiteY2" fmla="*/ 3597479 h 3606210"/>
                <a:gd name="connsiteX3" fmla="*/ 3250096 w 10802114"/>
                <a:gd name="connsiteY3" fmla="*/ 359326 h 3606210"/>
                <a:gd name="connsiteX4" fmla="*/ 5571615 w 10802114"/>
                <a:gd name="connsiteY4" fmla="*/ 719920 h 3606210"/>
                <a:gd name="connsiteX5" fmla="*/ 9249729 w 10802114"/>
                <a:gd name="connsiteY5" fmla="*/ 0 h 3606210"/>
                <a:gd name="connsiteX6" fmla="*/ 10802114 w 10802114"/>
                <a:gd name="connsiteY6" fmla="*/ 148270 h 3606210"/>
                <a:gd name="connsiteX0" fmla="*/ 0 w 10802114"/>
                <a:gd name="connsiteY0" fmla="*/ 1327626 h 3606210"/>
                <a:gd name="connsiteX1" fmla="*/ 1539912 w 10802114"/>
                <a:gd name="connsiteY1" fmla="*/ 1314158 h 3606210"/>
                <a:gd name="connsiteX2" fmla="*/ 2469351 w 10802114"/>
                <a:gd name="connsiteY2" fmla="*/ 3597479 h 3606210"/>
                <a:gd name="connsiteX3" fmla="*/ 3250096 w 10802114"/>
                <a:gd name="connsiteY3" fmla="*/ 359326 h 3606210"/>
                <a:gd name="connsiteX4" fmla="*/ 5571615 w 10802114"/>
                <a:gd name="connsiteY4" fmla="*/ 719920 h 3606210"/>
                <a:gd name="connsiteX5" fmla="*/ 9249729 w 10802114"/>
                <a:gd name="connsiteY5" fmla="*/ 0 h 3606210"/>
                <a:gd name="connsiteX6" fmla="*/ 10802114 w 10802114"/>
                <a:gd name="connsiteY6" fmla="*/ 57165 h 3606210"/>
                <a:gd name="connsiteX0" fmla="*/ 0 w 10802114"/>
                <a:gd name="connsiteY0" fmla="*/ 1330603 h 3609187"/>
                <a:gd name="connsiteX1" fmla="*/ 1539912 w 10802114"/>
                <a:gd name="connsiteY1" fmla="*/ 1317135 h 3609187"/>
                <a:gd name="connsiteX2" fmla="*/ 2469351 w 10802114"/>
                <a:gd name="connsiteY2" fmla="*/ 3600456 h 3609187"/>
                <a:gd name="connsiteX3" fmla="*/ 3250096 w 10802114"/>
                <a:gd name="connsiteY3" fmla="*/ 362303 h 3609187"/>
                <a:gd name="connsiteX4" fmla="*/ 5571615 w 10802114"/>
                <a:gd name="connsiteY4" fmla="*/ 722897 h 3609187"/>
                <a:gd name="connsiteX5" fmla="*/ 9249729 w 10802114"/>
                <a:gd name="connsiteY5" fmla="*/ 2977 h 3609187"/>
                <a:gd name="connsiteX6" fmla="*/ 10802114 w 10802114"/>
                <a:gd name="connsiteY6" fmla="*/ 8082 h 3609187"/>
                <a:gd name="connsiteX0" fmla="*/ 0 w 10336604"/>
                <a:gd name="connsiteY0" fmla="*/ 1353471 h 3632055"/>
                <a:gd name="connsiteX1" fmla="*/ 1539912 w 10336604"/>
                <a:gd name="connsiteY1" fmla="*/ 1340003 h 3632055"/>
                <a:gd name="connsiteX2" fmla="*/ 2469351 w 10336604"/>
                <a:gd name="connsiteY2" fmla="*/ 3623324 h 3632055"/>
                <a:gd name="connsiteX3" fmla="*/ 3250096 w 10336604"/>
                <a:gd name="connsiteY3" fmla="*/ 385171 h 3632055"/>
                <a:gd name="connsiteX4" fmla="*/ 5571615 w 10336604"/>
                <a:gd name="connsiteY4" fmla="*/ 745765 h 3632055"/>
                <a:gd name="connsiteX5" fmla="*/ 9249729 w 10336604"/>
                <a:gd name="connsiteY5" fmla="*/ 25845 h 3632055"/>
                <a:gd name="connsiteX6" fmla="*/ 10336604 w 10336604"/>
                <a:gd name="connsiteY6" fmla="*/ 4920 h 3632055"/>
                <a:gd name="connsiteX0" fmla="*/ 0 w 10336604"/>
                <a:gd name="connsiteY0" fmla="*/ 1352675 h 3631259"/>
                <a:gd name="connsiteX1" fmla="*/ 1539912 w 10336604"/>
                <a:gd name="connsiteY1" fmla="*/ 1339207 h 3631259"/>
                <a:gd name="connsiteX2" fmla="*/ 2469351 w 10336604"/>
                <a:gd name="connsiteY2" fmla="*/ 3622528 h 3631259"/>
                <a:gd name="connsiteX3" fmla="*/ 3250096 w 10336604"/>
                <a:gd name="connsiteY3" fmla="*/ 384375 h 3631259"/>
                <a:gd name="connsiteX4" fmla="*/ 5571615 w 10336604"/>
                <a:gd name="connsiteY4" fmla="*/ 744969 h 3631259"/>
                <a:gd name="connsiteX5" fmla="*/ 8719564 w 10336604"/>
                <a:gd name="connsiteY5" fmla="*/ 38064 h 3631259"/>
                <a:gd name="connsiteX6" fmla="*/ 10336604 w 10336604"/>
                <a:gd name="connsiteY6" fmla="*/ 4124 h 3631259"/>
                <a:gd name="connsiteX0" fmla="*/ 0 w 10207296"/>
                <a:gd name="connsiteY0" fmla="*/ 1317589 h 3596173"/>
                <a:gd name="connsiteX1" fmla="*/ 1539912 w 10207296"/>
                <a:gd name="connsiteY1" fmla="*/ 1304121 h 3596173"/>
                <a:gd name="connsiteX2" fmla="*/ 2469351 w 10207296"/>
                <a:gd name="connsiteY2" fmla="*/ 3587442 h 3596173"/>
                <a:gd name="connsiteX3" fmla="*/ 3250096 w 10207296"/>
                <a:gd name="connsiteY3" fmla="*/ 349289 h 3596173"/>
                <a:gd name="connsiteX4" fmla="*/ 5571615 w 10207296"/>
                <a:gd name="connsiteY4" fmla="*/ 709883 h 3596173"/>
                <a:gd name="connsiteX5" fmla="*/ 8719564 w 10207296"/>
                <a:gd name="connsiteY5" fmla="*/ 2978 h 3596173"/>
                <a:gd name="connsiteX6" fmla="*/ 10207296 w 10207296"/>
                <a:gd name="connsiteY6" fmla="*/ 8083 h 3596173"/>
                <a:gd name="connsiteX0" fmla="*/ 0 w 10207296"/>
                <a:gd name="connsiteY0" fmla="*/ 1317589 h 3596735"/>
                <a:gd name="connsiteX1" fmla="*/ 1281295 w 10207296"/>
                <a:gd name="connsiteY1" fmla="*/ 1330151 h 3596735"/>
                <a:gd name="connsiteX2" fmla="*/ 2469351 w 10207296"/>
                <a:gd name="connsiteY2" fmla="*/ 3587442 h 3596735"/>
                <a:gd name="connsiteX3" fmla="*/ 3250096 w 10207296"/>
                <a:gd name="connsiteY3" fmla="*/ 349289 h 3596735"/>
                <a:gd name="connsiteX4" fmla="*/ 5571615 w 10207296"/>
                <a:gd name="connsiteY4" fmla="*/ 709883 h 3596735"/>
                <a:gd name="connsiteX5" fmla="*/ 8719564 w 10207296"/>
                <a:gd name="connsiteY5" fmla="*/ 2978 h 3596735"/>
                <a:gd name="connsiteX6" fmla="*/ 10207296 w 10207296"/>
                <a:gd name="connsiteY6" fmla="*/ 8083 h 3596735"/>
                <a:gd name="connsiteX0" fmla="*/ 0 w 10207296"/>
                <a:gd name="connsiteY0" fmla="*/ 1317589 h 2845693"/>
                <a:gd name="connsiteX1" fmla="*/ 1281295 w 10207296"/>
                <a:gd name="connsiteY1" fmla="*/ 1330151 h 2845693"/>
                <a:gd name="connsiteX2" fmla="*/ 2003841 w 10207296"/>
                <a:gd name="connsiteY2" fmla="*/ 2832573 h 2845693"/>
                <a:gd name="connsiteX3" fmla="*/ 3250096 w 10207296"/>
                <a:gd name="connsiteY3" fmla="*/ 349289 h 2845693"/>
                <a:gd name="connsiteX4" fmla="*/ 5571615 w 10207296"/>
                <a:gd name="connsiteY4" fmla="*/ 709883 h 2845693"/>
                <a:gd name="connsiteX5" fmla="*/ 8719564 w 10207296"/>
                <a:gd name="connsiteY5" fmla="*/ 2978 h 2845693"/>
                <a:gd name="connsiteX6" fmla="*/ 10207296 w 10207296"/>
                <a:gd name="connsiteY6" fmla="*/ 8083 h 2845693"/>
                <a:gd name="connsiteX0" fmla="*/ 0 w 10207296"/>
                <a:gd name="connsiteY0" fmla="*/ 1317589 h 2850062"/>
                <a:gd name="connsiteX1" fmla="*/ 1281295 w 10207296"/>
                <a:gd name="connsiteY1" fmla="*/ 1330151 h 2850062"/>
                <a:gd name="connsiteX2" fmla="*/ 2003841 w 10207296"/>
                <a:gd name="connsiteY2" fmla="*/ 2832573 h 2850062"/>
                <a:gd name="connsiteX3" fmla="*/ 2810447 w 10207296"/>
                <a:gd name="connsiteY3" fmla="*/ 180094 h 2850062"/>
                <a:gd name="connsiteX4" fmla="*/ 5571615 w 10207296"/>
                <a:gd name="connsiteY4" fmla="*/ 709883 h 2850062"/>
                <a:gd name="connsiteX5" fmla="*/ 8719564 w 10207296"/>
                <a:gd name="connsiteY5" fmla="*/ 2978 h 2850062"/>
                <a:gd name="connsiteX6" fmla="*/ 10207296 w 10207296"/>
                <a:gd name="connsiteY6" fmla="*/ 8083 h 2850062"/>
                <a:gd name="connsiteX0" fmla="*/ 0 w 10207296"/>
                <a:gd name="connsiteY0" fmla="*/ 1317589 h 2850062"/>
                <a:gd name="connsiteX1" fmla="*/ 1281295 w 10207296"/>
                <a:gd name="connsiteY1" fmla="*/ 1330151 h 2850062"/>
                <a:gd name="connsiteX2" fmla="*/ 2003841 w 10207296"/>
                <a:gd name="connsiteY2" fmla="*/ 2832573 h 2850062"/>
                <a:gd name="connsiteX3" fmla="*/ 2810447 w 10207296"/>
                <a:gd name="connsiteY3" fmla="*/ 180094 h 2850062"/>
                <a:gd name="connsiteX4" fmla="*/ 5041451 w 10207296"/>
                <a:gd name="connsiteY4" fmla="*/ 579733 h 2850062"/>
                <a:gd name="connsiteX5" fmla="*/ 8719564 w 10207296"/>
                <a:gd name="connsiteY5" fmla="*/ 2978 h 2850062"/>
                <a:gd name="connsiteX6" fmla="*/ 10207296 w 10207296"/>
                <a:gd name="connsiteY6" fmla="*/ 8083 h 2850062"/>
                <a:gd name="connsiteX0" fmla="*/ 0 w 10207296"/>
                <a:gd name="connsiteY0" fmla="*/ 1310714 h 2843187"/>
                <a:gd name="connsiteX1" fmla="*/ 1281295 w 10207296"/>
                <a:gd name="connsiteY1" fmla="*/ 1323276 h 2843187"/>
                <a:gd name="connsiteX2" fmla="*/ 2003841 w 10207296"/>
                <a:gd name="connsiteY2" fmla="*/ 2825698 h 2843187"/>
                <a:gd name="connsiteX3" fmla="*/ 2810447 w 10207296"/>
                <a:gd name="connsiteY3" fmla="*/ 173219 h 2843187"/>
                <a:gd name="connsiteX4" fmla="*/ 5041451 w 10207296"/>
                <a:gd name="connsiteY4" fmla="*/ 572858 h 2843187"/>
                <a:gd name="connsiteX5" fmla="*/ 8486809 w 10207296"/>
                <a:gd name="connsiteY5" fmla="*/ 230373 h 2843187"/>
                <a:gd name="connsiteX6" fmla="*/ 10207296 w 10207296"/>
                <a:gd name="connsiteY6" fmla="*/ 1208 h 2843187"/>
                <a:gd name="connsiteX0" fmla="*/ 0 w 10220227"/>
                <a:gd name="connsiteY0" fmla="*/ 1239305 h 2771778"/>
                <a:gd name="connsiteX1" fmla="*/ 1281295 w 10220227"/>
                <a:gd name="connsiteY1" fmla="*/ 1251867 h 2771778"/>
                <a:gd name="connsiteX2" fmla="*/ 2003841 w 10220227"/>
                <a:gd name="connsiteY2" fmla="*/ 2754289 h 2771778"/>
                <a:gd name="connsiteX3" fmla="*/ 2810447 w 10220227"/>
                <a:gd name="connsiteY3" fmla="*/ 101810 h 2771778"/>
                <a:gd name="connsiteX4" fmla="*/ 5041451 w 10220227"/>
                <a:gd name="connsiteY4" fmla="*/ 501449 h 2771778"/>
                <a:gd name="connsiteX5" fmla="*/ 8486809 w 10220227"/>
                <a:gd name="connsiteY5" fmla="*/ 158964 h 2771778"/>
                <a:gd name="connsiteX6" fmla="*/ 10220227 w 10220227"/>
                <a:gd name="connsiteY6" fmla="*/ 164069 h 2771778"/>
                <a:gd name="connsiteX0" fmla="*/ 0 w 10220227"/>
                <a:gd name="connsiteY0" fmla="*/ 1295096 h 2827569"/>
                <a:gd name="connsiteX1" fmla="*/ 1281295 w 10220227"/>
                <a:gd name="connsiteY1" fmla="*/ 1307658 h 2827569"/>
                <a:gd name="connsiteX2" fmla="*/ 2003841 w 10220227"/>
                <a:gd name="connsiteY2" fmla="*/ 2810080 h 2827569"/>
                <a:gd name="connsiteX3" fmla="*/ 2810447 w 10220227"/>
                <a:gd name="connsiteY3" fmla="*/ 157601 h 2827569"/>
                <a:gd name="connsiteX4" fmla="*/ 5015589 w 10220227"/>
                <a:gd name="connsiteY4" fmla="*/ 283925 h 2827569"/>
                <a:gd name="connsiteX5" fmla="*/ 8486809 w 10220227"/>
                <a:gd name="connsiteY5" fmla="*/ 214755 h 2827569"/>
                <a:gd name="connsiteX6" fmla="*/ 10220227 w 10220227"/>
                <a:gd name="connsiteY6" fmla="*/ 219860 h 2827569"/>
                <a:gd name="connsiteX0" fmla="*/ 0 w 10220227"/>
                <a:gd name="connsiteY0" fmla="*/ 1295096 h 2827569"/>
                <a:gd name="connsiteX1" fmla="*/ 1281295 w 10220227"/>
                <a:gd name="connsiteY1" fmla="*/ 1307658 h 2827569"/>
                <a:gd name="connsiteX2" fmla="*/ 2003841 w 10220227"/>
                <a:gd name="connsiteY2" fmla="*/ 2810080 h 2827569"/>
                <a:gd name="connsiteX3" fmla="*/ 2810447 w 10220227"/>
                <a:gd name="connsiteY3" fmla="*/ 157601 h 2827569"/>
                <a:gd name="connsiteX4" fmla="*/ 5015589 w 10220227"/>
                <a:gd name="connsiteY4" fmla="*/ 283925 h 2827569"/>
                <a:gd name="connsiteX5" fmla="*/ 8486809 w 10220227"/>
                <a:gd name="connsiteY5" fmla="*/ 214755 h 2827569"/>
                <a:gd name="connsiteX6" fmla="*/ 10220227 w 10220227"/>
                <a:gd name="connsiteY6" fmla="*/ 219860 h 282756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86809 w 10220227"/>
                <a:gd name="connsiteY5" fmla="*/ 233505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86809 w 10220227"/>
                <a:gd name="connsiteY5" fmla="*/ 233505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99740 w 10220227"/>
                <a:gd name="connsiteY5" fmla="*/ 363655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99740 w 10220227"/>
                <a:gd name="connsiteY5" fmla="*/ 493805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99740 w 10220227"/>
                <a:gd name="connsiteY5" fmla="*/ 493805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99740 w 10220227"/>
                <a:gd name="connsiteY5" fmla="*/ 493805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99740 w 10220227"/>
                <a:gd name="connsiteY5" fmla="*/ 272550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99740 w 10220227"/>
                <a:gd name="connsiteY5" fmla="*/ 272550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8499740 w 10220227"/>
                <a:gd name="connsiteY5" fmla="*/ 129385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7982507 w 10220227"/>
                <a:gd name="connsiteY5" fmla="*/ 38280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7982507 w 10220227"/>
                <a:gd name="connsiteY5" fmla="*/ 38280 h 2846319"/>
                <a:gd name="connsiteX6" fmla="*/ 10220227 w 10220227"/>
                <a:gd name="connsiteY6" fmla="*/ 238610 h 2846319"/>
                <a:gd name="connsiteX0" fmla="*/ 0 w 10220227"/>
                <a:gd name="connsiteY0" fmla="*/ 1313846 h 2846319"/>
                <a:gd name="connsiteX1" fmla="*/ 1281295 w 10220227"/>
                <a:gd name="connsiteY1" fmla="*/ 1326408 h 2846319"/>
                <a:gd name="connsiteX2" fmla="*/ 2003841 w 10220227"/>
                <a:gd name="connsiteY2" fmla="*/ 2828830 h 2846319"/>
                <a:gd name="connsiteX3" fmla="*/ 2810447 w 10220227"/>
                <a:gd name="connsiteY3" fmla="*/ 176351 h 2846319"/>
                <a:gd name="connsiteX4" fmla="*/ 5015589 w 10220227"/>
                <a:gd name="connsiteY4" fmla="*/ 302675 h 2846319"/>
                <a:gd name="connsiteX5" fmla="*/ 7982507 w 10220227"/>
                <a:gd name="connsiteY5" fmla="*/ 38280 h 2846319"/>
                <a:gd name="connsiteX6" fmla="*/ 10220227 w 10220227"/>
                <a:gd name="connsiteY6" fmla="*/ 238610 h 2846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20227" h="2846319" extrusionOk="0">
                  <a:moveTo>
                    <a:pt x="0" y="1313846"/>
                  </a:moveTo>
                  <a:cubicBezTo>
                    <a:pt x="350448" y="1330020"/>
                    <a:pt x="947321" y="1073911"/>
                    <a:pt x="1281295" y="1326408"/>
                  </a:cubicBezTo>
                  <a:cubicBezTo>
                    <a:pt x="1615269" y="1578905"/>
                    <a:pt x="1748982" y="3020506"/>
                    <a:pt x="2003841" y="2828830"/>
                  </a:cubicBezTo>
                  <a:cubicBezTo>
                    <a:pt x="2258700" y="2637154"/>
                    <a:pt x="2308489" y="597377"/>
                    <a:pt x="2810447" y="176351"/>
                  </a:cubicBezTo>
                  <a:cubicBezTo>
                    <a:pt x="3312405" y="-244675"/>
                    <a:pt x="3958448" y="208083"/>
                    <a:pt x="5015589" y="302675"/>
                  </a:cubicBezTo>
                  <a:cubicBezTo>
                    <a:pt x="6423927" y="464987"/>
                    <a:pt x="6646826" y="118371"/>
                    <a:pt x="7982507" y="38280"/>
                  </a:cubicBezTo>
                  <a:cubicBezTo>
                    <a:pt x="8663743" y="-66507"/>
                    <a:pt x="9211107" y="347656"/>
                    <a:pt x="10220227" y="238610"/>
                  </a:cubicBezTo>
                </a:path>
              </a:pathLst>
            </a:custGeom>
            <a:noFill/>
            <a:ln w="57150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326">
                <a:defRPr/>
              </a:pPr>
              <a:endParaRPr lang="ru-RU" sz="1397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E4EC9AE1-395D-538A-9025-2AC82D2C6DCB}"/>
                </a:ext>
              </a:extLst>
            </p:cNvPr>
            <p:cNvGrpSpPr/>
            <p:nvPr/>
          </p:nvGrpSpPr>
          <p:grpSpPr bwMode="auto">
            <a:xfrm>
              <a:off x="5102190" y="2099573"/>
              <a:ext cx="2421918" cy="1034712"/>
              <a:chOff x="5102190" y="2099573"/>
              <a:chExt cx="2421918" cy="1034712"/>
            </a:xfrm>
          </p:grpSpPr>
          <p:cxnSp>
            <p:nvCxnSpPr>
              <p:cNvPr id="16" name="Прямая со стрелкой 15">
                <a:extLst>
                  <a:ext uri="{FF2B5EF4-FFF2-40B4-BE49-F238E27FC236}">
                    <a16:creationId xmlns:a16="http://schemas.microsoft.com/office/drawing/2014/main" id="{BD7E424A-87FB-7092-5F69-2E6DE96FBFA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102190" y="2787771"/>
                <a:ext cx="2421918" cy="0"/>
              </a:xfrm>
              <a:prstGeom prst="straightConnector1">
                <a:avLst/>
              </a:prstGeom>
              <a:ln w="254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Прямая соединительная линия 22">
                <a:extLst>
                  <a:ext uri="{FF2B5EF4-FFF2-40B4-BE49-F238E27FC236}">
                    <a16:creationId xmlns:a16="http://schemas.microsoft.com/office/drawing/2014/main" id="{D7C2B54E-E76D-1BEC-257E-A9031D934AF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5102190" y="2099573"/>
                <a:ext cx="0" cy="1034712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BE9204F-674D-555F-A50B-D3B342550701}"/>
              </a:ext>
            </a:extLst>
          </p:cNvPr>
          <p:cNvSpPr/>
          <p:nvPr/>
        </p:nvSpPr>
        <p:spPr bwMode="auto">
          <a:xfrm>
            <a:off x="644615" y="2306253"/>
            <a:ext cx="1182509" cy="4090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Компания взяла курс на…</a:t>
            </a:r>
            <a:endParaRPr lang="ru-RU" sz="1016" b="1" kern="0" dirty="0">
              <a:solidFill>
                <a:srgbClr val="FC131B"/>
              </a:solidFill>
              <a:latin typeface="Arial Narrow"/>
              <a:cs typeface="Segoe UI Semibold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3ED81F8-D7F8-0DA7-1D3D-876AA7D3CA87}"/>
              </a:ext>
            </a:extLst>
          </p:cNvPr>
          <p:cNvSpPr/>
          <p:nvPr/>
        </p:nvSpPr>
        <p:spPr bwMode="auto">
          <a:xfrm>
            <a:off x="1960398" y="4721052"/>
            <a:ext cx="1767481" cy="9284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Перед нашим Департаментом стоит амбициозная задача – </a:t>
            </a:r>
            <a:b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</a:b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….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BEA4648C-C51F-FA39-92D4-9D2D33B5C82A}"/>
              </a:ext>
            </a:extLst>
          </p:cNvPr>
          <p:cNvSpPr/>
          <p:nvPr/>
        </p:nvSpPr>
        <p:spPr bwMode="auto">
          <a:xfrm>
            <a:off x="2919961" y="1361362"/>
            <a:ext cx="1542734" cy="51034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Для выполнения задачи мы разработали ….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082A5C0-0091-BE02-7D25-751113047C70}"/>
              </a:ext>
            </a:extLst>
          </p:cNvPr>
          <p:cNvSpPr/>
          <p:nvPr/>
        </p:nvSpPr>
        <p:spPr bwMode="auto">
          <a:xfrm>
            <a:off x="4462321" y="2536185"/>
            <a:ext cx="1306128" cy="5103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Наше решение позволит… </a:t>
            </a:r>
          </a:p>
          <a:p>
            <a:pPr marL="228600" indent="-228600" defTabSz="387066">
              <a:spcBef>
                <a:spcPts val="600"/>
              </a:spcBef>
              <a:buAutoNum type="arabicPeriod"/>
            </a:pPr>
            <a:r>
              <a:rPr lang="ru-RU" sz="1016" b="1" kern="0" dirty="0">
                <a:latin typeface="Arial Narrow"/>
                <a:cs typeface="Segoe UI Semibold"/>
              </a:rPr>
              <a:t>…</a:t>
            </a:r>
          </a:p>
          <a:p>
            <a:pPr marL="228600" indent="-228600" defTabSz="387066">
              <a:spcBef>
                <a:spcPts val="600"/>
              </a:spcBef>
              <a:buAutoNum type="arabicPeriod"/>
            </a:pPr>
            <a:r>
              <a:rPr lang="ru-RU" sz="1016" b="1" kern="0" dirty="0">
                <a:latin typeface="Arial Narrow"/>
                <a:cs typeface="Segoe UI Semibold"/>
              </a:rPr>
              <a:t>…</a:t>
            </a:r>
          </a:p>
          <a:p>
            <a:pPr marL="228600" indent="-228600" defTabSz="387066">
              <a:spcBef>
                <a:spcPts val="600"/>
              </a:spcBef>
              <a:buAutoNum type="arabicPeriod"/>
            </a:pPr>
            <a:r>
              <a:rPr lang="ru-RU" sz="1016" b="1" kern="0" dirty="0">
                <a:latin typeface="Arial Narrow"/>
                <a:cs typeface="Segoe UI Semibold"/>
              </a:rPr>
              <a:t>…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39CF143E-3C59-F1A2-01D3-E1C2879D317B}"/>
              </a:ext>
            </a:extLst>
          </p:cNvPr>
          <p:cNvSpPr/>
          <p:nvPr/>
        </p:nvSpPr>
        <p:spPr bwMode="auto">
          <a:xfrm>
            <a:off x="913964" y="2870778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ru-RU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1</a:t>
            </a: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4AC74207-F52D-8D8C-4041-3CC1FC592FF3}"/>
              </a:ext>
            </a:extLst>
          </p:cNvPr>
          <p:cNvSpPr/>
          <p:nvPr/>
        </p:nvSpPr>
        <p:spPr bwMode="auto">
          <a:xfrm>
            <a:off x="2021812" y="4270926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2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6549A4BE-9824-B21F-5D1A-B5EB15CEAA42}"/>
              </a:ext>
            </a:extLst>
          </p:cNvPr>
          <p:cNvSpPr/>
          <p:nvPr/>
        </p:nvSpPr>
        <p:spPr bwMode="auto">
          <a:xfrm>
            <a:off x="2844139" y="1885900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3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7322FB6E-A798-A1A4-5DF5-CCA89A89AE57}"/>
              </a:ext>
            </a:extLst>
          </p:cNvPr>
          <p:cNvSpPr/>
          <p:nvPr/>
        </p:nvSpPr>
        <p:spPr bwMode="auto">
          <a:xfrm>
            <a:off x="4349054" y="2130197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4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6CD31BB0-6086-E4C1-56F2-34866B3DC79D}"/>
              </a:ext>
            </a:extLst>
          </p:cNvPr>
          <p:cNvSpPr/>
          <p:nvPr/>
        </p:nvSpPr>
        <p:spPr bwMode="auto">
          <a:xfrm>
            <a:off x="5600795" y="2099938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5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0EE87B4F-2BE0-9254-A73F-A68E57535EF1}"/>
              </a:ext>
            </a:extLst>
          </p:cNvPr>
          <p:cNvSpPr/>
          <p:nvPr/>
        </p:nvSpPr>
        <p:spPr bwMode="auto">
          <a:xfrm>
            <a:off x="7332804" y="1915521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6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AFE24F05-CBDA-3DDA-ACBA-F3419A09BE72}"/>
              </a:ext>
            </a:extLst>
          </p:cNvPr>
          <p:cNvSpPr/>
          <p:nvPr/>
        </p:nvSpPr>
        <p:spPr bwMode="auto">
          <a:xfrm>
            <a:off x="8900396" y="2042236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8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ABECB5AC-2568-CD3F-A70C-A7C3156BD433}"/>
              </a:ext>
            </a:extLst>
          </p:cNvPr>
          <p:cNvSpPr/>
          <p:nvPr/>
        </p:nvSpPr>
        <p:spPr bwMode="auto">
          <a:xfrm>
            <a:off x="5695634" y="1258834"/>
            <a:ext cx="1542734" cy="7763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Полученные разработки можно будет тиражировать на другие подразделения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B137874-C983-7E78-B381-889470BB3523}"/>
              </a:ext>
            </a:extLst>
          </p:cNvPr>
          <p:cNvSpPr/>
          <p:nvPr/>
        </p:nvSpPr>
        <p:spPr bwMode="auto">
          <a:xfrm>
            <a:off x="8708202" y="2380373"/>
            <a:ext cx="980288" cy="5322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Мы планируем завершить разработку к …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22224172-5F1D-A802-0CC3-773340391A8D}"/>
              </a:ext>
            </a:extLst>
          </p:cNvPr>
          <p:cNvSpPr/>
          <p:nvPr/>
        </p:nvSpPr>
        <p:spPr bwMode="auto">
          <a:xfrm>
            <a:off x="7037241" y="2358793"/>
            <a:ext cx="1196356" cy="45728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Чтобы стартовать разработку, нам необходимо утвердить бюджет</a:t>
            </a:r>
          </a:p>
        </p:txBody>
      </p:sp>
    </p:spTree>
    <p:extLst>
      <p:ext uri="{BB962C8B-B14F-4D97-AF65-F5344CB8AC3E}">
        <p14:creationId xmlns:p14="http://schemas.microsoft.com/office/powerpoint/2010/main" val="667397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BFF938-4831-823E-E263-3967499C04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847" y="360884"/>
            <a:ext cx="11164215" cy="536128"/>
          </a:xfrm>
        </p:spPr>
        <p:txBody>
          <a:bodyPr>
            <a:normAutofit/>
          </a:bodyPr>
          <a:lstStyle/>
          <a:p>
            <a:r>
              <a:rPr lang="ru-RU" dirty="0">
                <a:ea typeface="Roboto"/>
                <a:cs typeface="Segoe UI"/>
              </a:rPr>
              <a:t>Название презентации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DAB52A-6C09-0779-22AA-DD298333BEF3}"/>
              </a:ext>
            </a:extLst>
          </p:cNvPr>
          <p:cNvSpPr txBox="1"/>
          <p:nvPr/>
        </p:nvSpPr>
        <p:spPr>
          <a:xfrm>
            <a:off x="10035251" y="0"/>
            <a:ext cx="2156749" cy="4616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Технический слайд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Сторилай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D424C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: Потенциал</a:t>
            </a: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A0C2ED78-DAF0-227C-21AB-CFADCF29485A}"/>
              </a:ext>
            </a:extLst>
          </p:cNvPr>
          <p:cNvSpPr/>
          <p:nvPr/>
        </p:nvSpPr>
        <p:spPr bwMode="auto">
          <a:xfrm>
            <a:off x="617549" y="1951904"/>
            <a:ext cx="8423154" cy="2349654"/>
          </a:xfrm>
          <a:custGeom>
            <a:avLst/>
            <a:gdLst>
              <a:gd name="connsiteX0" fmla="*/ 0 w 11222966"/>
              <a:gd name="connsiteY0" fmla="*/ 612476 h 3371995"/>
              <a:gd name="connsiteX1" fmla="*/ 828136 w 11222966"/>
              <a:gd name="connsiteY1" fmla="*/ 457200 h 3371995"/>
              <a:gd name="connsiteX2" fmla="*/ 1682151 w 11222966"/>
              <a:gd name="connsiteY2" fmla="*/ 690113 h 3371995"/>
              <a:gd name="connsiteX3" fmla="*/ 2182483 w 11222966"/>
              <a:gd name="connsiteY3" fmla="*/ 3355676 h 3371995"/>
              <a:gd name="connsiteX4" fmla="*/ 3303917 w 11222966"/>
              <a:gd name="connsiteY4" fmla="*/ 1751162 h 3371995"/>
              <a:gd name="connsiteX5" fmla="*/ 4701396 w 11222966"/>
              <a:gd name="connsiteY5" fmla="*/ 517585 h 3371995"/>
              <a:gd name="connsiteX6" fmla="*/ 10136038 w 11222966"/>
              <a:gd name="connsiteY6" fmla="*/ 146649 h 3371995"/>
              <a:gd name="connsiteX7" fmla="*/ 11222966 w 11222966"/>
              <a:gd name="connsiteY7" fmla="*/ 0 h 3371995"/>
              <a:gd name="connsiteX0" fmla="*/ 0 w 11222966"/>
              <a:gd name="connsiteY0" fmla="*/ 612476 h 3447658"/>
              <a:gd name="connsiteX1" fmla="*/ 828136 w 11222966"/>
              <a:gd name="connsiteY1" fmla="*/ 457200 h 3447658"/>
              <a:gd name="connsiteX2" fmla="*/ 1682151 w 11222966"/>
              <a:gd name="connsiteY2" fmla="*/ 690113 h 3447658"/>
              <a:gd name="connsiteX3" fmla="*/ 2182483 w 11222966"/>
              <a:gd name="connsiteY3" fmla="*/ 3355676 h 3447658"/>
              <a:gd name="connsiteX4" fmla="*/ 4718830 w 11222966"/>
              <a:gd name="connsiteY4" fmla="*/ 2617436 h 3447658"/>
              <a:gd name="connsiteX5" fmla="*/ 4701396 w 11222966"/>
              <a:gd name="connsiteY5" fmla="*/ 517585 h 3447658"/>
              <a:gd name="connsiteX6" fmla="*/ 10136038 w 11222966"/>
              <a:gd name="connsiteY6" fmla="*/ 146649 h 3447658"/>
              <a:gd name="connsiteX7" fmla="*/ 11222966 w 11222966"/>
              <a:gd name="connsiteY7" fmla="*/ 0 h 3447658"/>
              <a:gd name="connsiteX0" fmla="*/ 0 w 11222966"/>
              <a:gd name="connsiteY0" fmla="*/ 612476 h 3334854"/>
              <a:gd name="connsiteX1" fmla="*/ 828136 w 11222966"/>
              <a:gd name="connsiteY1" fmla="*/ 457200 h 3334854"/>
              <a:gd name="connsiteX2" fmla="*/ 1682151 w 11222966"/>
              <a:gd name="connsiteY2" fmla="*/ 690113 h 3334854"/>
              <a:gd name="connsiteX3" fmla="*/ 3154635 w 11222966"/>
              <a:gd name="connsiteY3" fmla="*/ 3230548 h 3334854"/>
              <a:gd name="connsiteX4" fmla="*/ 4718830 w 11222966"/>
              <a:gd name="connsiteY4" fmla="*/ 2617436 h 3334854"/>
              <a:gd name="connsiteX5" fmla="*/ 4701396 w 11222966"/>
              <a:gd name="connsiteY5" fmla="*/ 517585 h 3334854"/>
              <a:gd name="connsiteX6" fmla="*/ 10136038 w 11222966"/>
              <a:gd name="connsiteY6" fmla="*/ 146649 h 3334854"/>
              <a:gd name="connsiteX7" fmla="*/ 11222966 w 11222966"/>
              <a:gd name="connsiteY7" fmla="*/ 0 h 3334854"/>
              <a:gd name="connsiteX0" fmla="*/ 0 w 11222966"/>
              <a:gd name="connsiteY0" fmla="*/ 612476 h 3303445"/>
              <a:gd name="connsiteX1" fmla="*/ 828136 w 11222966"/>
              <a:gd name="connsiteY1" fmla="*/ 457200 h 3303445"/>
              <a:gd name="connsiteX2" fmla="*/ 1682151 w 11222966"/>
              <a:gd name="connsiteY2" fmla="*/ 690113 h 3303445"/>
              <a:gd name="connsiteX3" fmla="*/ 3154635 w 11222966"/>
              <a:gd name="connsiteY3" fmla="*/ 3230548 h 3303445"/>
              <a:gd name="connsiteX4" fmla="*/ 4718830 w 11222966"/>
              <a:gd name="connsiteY4" fmla="*/ 2617436 h 3303445"/>
              <a:gd name="connsiteX5" fmla="*/ 4688048 w 11222966"/>
              <a:gd name="connsiteY5" fmla="*/ 2657026 h 3303445"/>
              <a:gd name="connsiteX6" fmla="*/ 4701396 w 11222966"/>
              <a:gd name="connsiteY6" fmla="*/ 517585 h 3303445"/>
              <a:gd name="connsiteX7" fmla="*/ 10136038 w 11222966"/>
              <a:gd name="connsiteY7" fmla="*/ 146649 h 3303445"/>
              <a:gd name="connsiteX8" fmla="*/ 11222966 w 11222966"/>
              <a:gd name="connsiteY8" fmla="*/ 0 h 3303445"/>
              <a:gd name="connsiteX0" fmla="*/ 0 w 11222966"/>
              <a:gd name="connsiteY0" fmla="*/ 612476 h 3334854"/>
              <a:gd name="connsiteX1" fmla="*/ 828136 w 11222966"/>
              <a:gd name="connsiteY1" fmla="*/ 457200 h 3334854"/>
              <a:gd name="connsiteX2" fmla="*/ 1682151 w 11222966"/>
              <a:gd name="connsiteY2" fmla="*/ 690113 h 3334854"/>
              <a:gd name="connsiteX3" fmla="*/ 3154635 w 11222966"/>
              <a:gd name="connsiteY3" fmla="*/ 3230548 h 3334854"/>
              <a:gd name="connsiteX4" fmla="*/ 4718830 w 11222966"/>
              <a:gd name="connsiteY4" fmla="*/ 2617436 h 3334854"/>
              <a:gd name="connsiteX5" fmla="*/ 4701396 w 11222966"/>
              <a:gd name="connsiteY5" fmla="*/ 517585 h 3334854"/>
              <a:gd name="connsiteX6" fmla="*/ 10136038 w 11222966"/>
              <a:gd name="connsiteY6" fmla="*/ 146649 h 3334854"/>
              <a:gd name="connsiteX7" fmla="*/ 11222966 w 11222966"/>
              <a:gd name="connsiteY7" fmla="*/ 0 h 3334854"/>
              <a:gd name="connsiteX0" fmla="*/ 0 w 11222966"/>
              <a:gd name="connsiteY0" fmla="*/ 612476 h 3230839"/>
              <a:gd name="connsiteX1" fmla="*/ 828136 w 11222966"/>
              <a:gd name="connsiteY1" fmla="*/ 457200 h 3230839"/>
              <a:gd name="connsiteX2" fmla="*/ 1682151 w 11222966"/>
              <a:gd name="connsiteY2" fmla="*/ 690113 h 3230839"/>
              <a:gd name="connsiteX3" fmla="*/ 3154635 w 11222966"/>
              <a:gd name="connsiteY3" fmla="*/ 3230548 h 3230839"/>
              <a:gd name="connsiteX4" fmla="*/ 4701396 w 11222966"/>
              <a:gd name="connsiteY4" fmla="*/ 517585 h 3230839"/>
              <a:gd name="connsiteX5" fmla="*/ 10136038 w 11222966"/>
              <a:gd name="connsiteY5" fmla="*/ 146649 h 3230839"/>
              <a:gd name="connsiteX6" fmla="*/ 11222966 w 11222966"/>
              <a:gd name="connsiteY6" fmla="*/ 0 h 3230839"/>
              <a:gd name="connsiteX0" fmla="*/ 0 w 11222966"/>
              <a:gd name="connsiteY0" fmla="*/ 612476 h 3230836"/>
              <a:gd name="connsiteX1" fmla="*/ 1682151 w 11222966"/>
              <a:gd name="connsiteY1" fmla="*/ 690113 h 3230836"/>
              <a:gd name="connsiteX2" fmla="*/ 3154635 w 11222966"/>
              <a:gd name="connsiteY2" fmla="*/ 3230548 h 3230836"/>
              <a:gd name="connsiteX3" fmla="*/ 4701396 w 11222966"/>
              <a:gd name="connsiteY3" fmla="*/ 517585 h 3230836"/>
              <a:gd name="connsiteX4" fmla="*/ 10136038 w 11222966"/>
              <a:gd name="connsiteY4" fmla="*/ 146649 h 3230836"/>
              <a:gd name="connsiteX5" fmla="*/ 11222966 w 11222966"/>
              <a:gd name="connsiteY5" fmla="*/ 0 h 3230836"/>
              <a:gd name="connsiteX0" fmla="*/ 0 w 11222966"/>
              <a:gd name="connsiteY0" fmla="*/ 612476 h 3194981"/>
              <a:gd name="connsiteX1" fmla="*/ 1682151 w 11222966"/>
              <a:gd name="connsiteY1" fmla="*/ 690113 h 3194981"/>
              <a:gd name="connsiteX2" fmla="*/ 2482282 w 11222966"/>
              <a:gd name="connsiteY2" fmla="*/ 3194689 h 3194981"/>
              <a:gd name="connsiteX3" fmla="*/ 4701396 w 11222966"/>
              <a:gd name="connsiteY3" fmla="*/ 517585 h 3194981"/>
              <a:gd name="connsiteX4" fmla="*/ 10136038 w 11222966"/>
              <a:gd name="connsiteY4" fmla="*/ 146649 h 3194981"/>
              <a:gd name="connsiteX5" fmla="*/ 11222966 w 11222966"/>
              <a:gd name="connsiteY5" fmla="*/ 0 h 3194981"/>
              <a:gd name="connsiteX0" fmla="*/ 0 w 11222966"/>
              <a:gd name="connsiteY0" fmla="*/ 612476 h 3196916"/>
              <a:gd name="connsiteX1" fmla="*/ 1682151 w 11222966"/>
              <a:gd name="connsiteY1" fmla="*/ 690113 h 3196916"/>
              <a:gd name="connsiteX2" fmla="*/ 2482282 w 11222966"/>
              <a:gd name="connsiteY2" fmla="*/ 3194689 h 3196916"/>
              <a:gd name="connsiteX3" fmla="*/ 3948361 w 11222966"/>
              <a:gd name="connsiteY3" fmla="*/ 203820 h 3196916"/>
              <a:gd name="connsiteX4" fmla="*/ 10136038 w 11222966"/>
              <a:gd name="connsiteY4" fmla="*/ 146649 h 3196916"/>
              <a:gd name="connsiteX5" fmla="*/ 11222966 w 11222966"/>
              <a:gd name="connsiteY5" fmla="*/ 0 h 3196916"/>
              <a:gd name="connsiteX0" fmla="*/ 0 w 11222966"/>
              <a:gd name="connsiteY0" fmla="*/ 695025 h 3279465"/>
              <a:gd name="connsiteX1" fmla="*/ 1682151 w 11222966"/>
              <a:gd name="connsiteY1" fmla="*/ 772662 h 3279465"/>
              <a:gd name="connsiteX2" fmla="*/ 2482282 w 11222966"/>
              <a:gd name="connsiteY2" fmla="*/ 3277238 h 3279465"/>
              <a:gd name="connsiteX3" fmla="*/ 3948361 w 11222966"/>
              <a:gd name="connsiteY3" fmla="*/ 286369 h 3279465"/>
              <a:gd name="connsiteX4" fmla="*/ 5921780 w 11222966"/>
              <a:gd name="connsiteY4" fmla="*/ 113672 h 3279465"/>
              <a:gd name="connsiteX5" fmla="*/ 10136038 w 11222966"/>
              <a:gd name="connsiteY5" fmla="*/ 229198 h 3279465"/>
              <a:gd name="connsiteX6" fmla="*/ 11222966 w 11222966"/>
              <a:gd name="connsiteY6" fmla="*/ 82549 h 3279465"/>
              <a:gd name="connsiteX0" fmla="*/ 0 w 11222966"/>
              <a:gd name="connsiteY0" fmla="*/ 620536 h 3204976"/>
              <a:gd name="connsiteX1" fmla="*/ 1682151 w 11222966"/>
              <a:gd name="connsiteY1" fmla="*/ 698173 h 3204976"/>
              <a:gd name="connsiteX2" fmla="*/ 2482282 w 11222966"/>
              <a:gd name="connsiteY2" fmla="*/ 3202749 h 3204976"/>
              <a:gd name="connsiteX3" fmla="*/ 3948361 w 11222966"/>
              <a:gd name="connsiteY3" fmla="*/ 211880 h 3204976"/>
              <a:gd name="connsiteX4" fmla="*/ 5894886 w 11222966"/>
              <a:gd name="connsiteY4" fmla="*/ 299160 h 3204976"/>
              <a:gd name="connsiteX5" fmla="*/ 10136038 w 11222966"/>
              <a:gd name="connsiteY5" fmla="*/ 154709 h 3204976"/>
              <a:gd name="connsiteX6" fmla="*/ 11222966 w 11222966"/>
              <a:gd name="connsiteY6" fmla="*/ 8060 h 3204976"/>
              <a:gd name="connsiteX0" fmla="*/ 0 w 11222966"/>
              <a:gd name="connsiteY0" fmla="*/ 620536 h 3204976"/>
              <a:gd name="connsiteX1" fmla="*/ 1682151 w 11222966"/>
              <a:gd name="connsiteY1" fmla="*/ 698173 h 3204976"/>
              <a:gd name="connsiteX2" fmla="*/ 2482282 w 11222966"/>
              <a:gd name="connsiteY2" fmla="*/ 3202749 h 3204976"/>
              <a:gd name="connsiteX3" fmla="*/ 3948361 w 11222966"/>
              <a:gd name="connsiteY3" fmla="*/ 211880 h 3204976"/>
              <a:gd name="connsiteX4" fmla="*/ 5894886 w 11222966"/>
              <a:gd name="connsiteY4" fmla="*/ 299160 h 3204976"/>
              <a:gd name="connsiteX5" fmla="*/ 10136038 w 11222966"/>
              <a:gd name="connsiteY5" fmla="*/ 154709 h 3204976"/>
              <a:gd name="connsiteX6" fmla="*/ 11222966 w 11222966"/>
              <a:gd name="connsiteY6" fmla="*/ 8060 h 3204976"/>
              <a:gd name="connsiteX0" fmla="*/ 0 w 11222966"/>
              <a:gd name="connsiteY0" fmla="*/ 909090 h 3493530"/>
              <a:gd name="connsiteX1" fmla="*/ 1682151 w 11222966"/>
              <a:gd name="connsiteY1" fmla="*/ 986727 h 3493530"/>
              <a:gd name="connsiteX2" fmla="*/ 2482282 w 11222966"/>
              <a:gd name="connsiteY2" fmla="*/ 3491303 h 3493530"/>
              <a:gd name="connsiteX3" fmla="*/ 3948361 w 11222966"/>
              <a:gd name="connsiteY3" fmla="*/ 500434 h 3493530"/>
              <a:gd name="connsiteX4" fmla="*/ 5894886 w 11222966"/>
              <a:gd name="connsiteY4" fmla="*/ 587714 h 3493530"/>
              <a:gd name="connsiteX5" fmla="*/ 9849168 w 11222966"/>
              <a:gd name="connsiteY5" fmla="*/ 12957 h 3493530"/>
              <a:gd name="connsiteX6" fmla="*/ 11222966 w 11222966"/>
              <a:gd name="connsiteY6" fmla="*/ 296614 h 3493530"/>
              <a:gd name="connsiteX0" fmla="*/ 0 w 11151248"/>
              <a:gd name="connsiteY0" fmla="*/ 907871 h 3492311"/>
              <a:gd name="connsiteX1" fmla="*/ 1682151 w 11151248"/>
              <a:gd name="connsiteY1" fmla="*/ 985508 h 3492311"/>
              <a:gd name="connsiteX2" fmla="*/ 2482282 w 11151248"/>
              <a:gd name="connsiteY2" fmla="*/ 3490084 h 3492311"/>
              <a:gd name="connsiteX3" fmla="*/ 3948361 w 11151248"/>
              <a:gd name="connsiteY3" fmla="*/ 499215 h 3492311"/>
              <a:gd name="connsiteX4" fmla="*/ 5894886 w 11151248"/>
              <a:gd name="connsiteY4" fmla="*/ 586495 h 3492311"/>
              <a:gd name="connsiteX5" fmla="*/ 9849168 w 11151248"/>
              <a:gd name="connsiteY5" fmla="*/ 11738 h 3492311"/>
              <a:gd name="connsiteX6" fmla="*/ 11151248 w 11151248"/>
              <a:gd name="connsiteY6" fmla="*/ 340218 h 3492311"/>
              <a:gd name="connsiteX0" fmla="*/ 0 w 11151248"/>
              <a:gd name="connsiteY0" fmla="*/ 915933 h 3500373"/>
              <a:gd name="connsiteX1" fmla="*/ 1682151 w 11151248"/>
              <a:gd name="connsiteY1" fmla="*/ 993570 h 3500373"/>
              <a:gd name="connsiteX2" fmla="*/ 2482282 w 11151248"/>
              <a:gd name="connsiteY2" fmla="*/ 3498146 h 3500373"/>
              <a:gd name="connsiteX3" fmla="*/ 3948361 w 11151248"/>
              <a:gd name="connsiteY3" fmla="*/ 507277 h 3500373"/>
              <a:gd name="connsiteX4" fmla="*/ 5894886 w 11151248"/>
              <a:gd name="connsiteY4" fmla="*/ 594557 h 3500373"/>
              <a:gd name="connsiteX5" fmla="*/ 9849168 w 11151248"/>
              <a:gd name="connsiteY5" fmla="*/ 19800 h 3500373"/>
              <a:gd name="connsiteX6" fmla="*/ 11151248 w 11151248"/>
              <a:gd name="connsiteY6" fmla="*/ 348280 h 3500373"/>
              <a:gd name="connsiteX0" fmla="*/ 0 w 11151248"/>
              <a:gd name="connsiteY0" fmla="*/ 1105145 h 3689585"/>
              <a:gd name="connsiteX1" fmla="*/ 1682151 w 11151248"/>
              <a:gd name="connsiteY1" fmla="*/ 1182782 h 3689585"/>
              <a:gd name="connsiteX2" fmla="*/ 2482282 w 11151248"/>
              <a:gd name="connsiteY2" fmla="*/ 3687358 h 3689585"/>
              <a:gd name="connsiteX3" fmla="*/ 3948361 w 11151248"/>
              <a:gd name="connsiteY3" fmla="*/ 696489 h 3689585"/>
              <a:gd name="connsiteX4" fmla="*/ 5894886 w 11151248"/>
              <a:gd name="connsiteY4" fmla="*/ 783769 h 3689585"/>
              <a:gd name="connsiteX5" fmla="*/ 9391968 w 11151248"/>
              <a:gd name="connsiteY5" fmla="*/ 11789 h 3689585"/>
              <a:gd name="connsiteX6" fmla="*/ 11151248 w 11151248"/>
              <a:gd name="connsiteY6" fmla="*/ 537492 h 3689585"/>
              <a:gd name="connsiteX0" fmla="*/ 0 w 11151248"/>
              <a:gd name="connsiteY0" fmla="*/ 1093356 h 3677796"/>
              <a:gd name="connsiteX1" fmla="*/ 1682151 w 11151248"/>
              <a:gd name="connsiteY1" fmla="*/ 1170993 h 3677796"/>
              <a:gd name="connsiteX2" fmla="*/ 2482282 w 11151248"/>
              <a:gd name="connsiteY2" fmla="*/ 3675569 h 3677796"/>
              <a:gd name="connsiteX3" fmla="*/ 3948361 w 11151248"/>
              <a:gd name="connsiteY3" fmla="*/ 684700 h 3677796"/>
              <a:gd name="connsiteX4" fmla="*/ 5894886 w 11151248"/>
              <a:gd name="connsiteY4" fmla="*/ 771980 h 3677796"/>
              <a:gd name="connsiteX5" fmla="*/ 9391968 w 11151248"/>
              <a:gd name="connsiteY5" fmla="*/ 0 h 3677796"/>
              <a:gd name="connsiteX6" fmla="*/ 11151248 w 11151248"/>
              <a:gd name="connsiteY6" fmla="*/ 525703 h 3677796"/>
              <a:gd name="connsiteX0" fmla="*/ 0 w 11151248"/>
              <a:gd name="connsiteY0" fmla="*/ 1093356 h 3677796"/>
              <a:gd name="connsiteX1" fmla="*/ 1682151 w 11151248"/>
              <a:gd name="connsiteY1" fmla="*/ 1170993 h 3677796"/>
              <a:gd name="connsiteX2" fmla="*/ 2482282 w 11151248"/>
              <a:gd name="connsiteY2" fmla="*/ 3675569 h 3677796"/>
              <a:gd name="connsiteX3" fmla="*/ 3948361 w 11151248"/>
              <a:gd name="connsiteY3" fmla="*/ 684700 h 3677796"/>
              <a:gd name="connsiteX4" fmla="*/ 5894886 w 11151248"/>
              <a:gd name="connsiteY4" fmla="*/ 771980 h 3677796"/>
              <a:gd name="connsiteX5" fmla="*/ 9391968 w 11151248"/>
              <a:gd name="connsiteY5" fmla="*/ 0 h 3677796"/>
              <a:gd name="connsiteX6" fmla="*/ 11151248 w 11151248"/>
              <a:gd name="connsiteY6" fmla="*/ 525703 h 3677796"/>
              <a:gd name="connsiteX0" fmla="*/ 0 w 11151248"/>
              <a:gd name="connsiteY0" fmla="*/ 1093356 h 3676997"/>
              <a:gd name="connsiteX1" fmla="*/ 1539912 w 11151248"/>
              <a:gd name="connsiteY1" fmla="*/ 1079888 h 3676997"/>
              <a:gd name="connsiteX2" fmla="*/ 2482282 w 11151248"/>
              <a:gd name="connsiteY2" fmla="*/ 3675569 h 3676997"/>
              <a:gd name="connsiteX3" fmla="*/ 3948361 w 11151248"/>
              <a:gd name="connsiteY3" fmla="*/ 684700 h 3676997"/>
              <a:gd name="connsiteX4" fmla="*/ 5894886 w 11151248"/>
              <a:gd name="connsiteY4" fmla="*/ 771980 h 3676997"/>
              <a:gd name="connsiteX5" fmla="*/ 9391968 w 11151248"/>
              <a:gd name="connsiteY5" fmla="*/ 0 h 3676997"/>
              <a:gd name="connsiteX6" fmla="*/ 11151248 w 11151248"/>
              <a:gd name="connsiteY6" fmla="*/ 525703 h 3676997"/>
              <a:gd name="connsiteX0" fmla="*/ 0 w 11151248"/>
              <a:gd name="connsiteY0" fmla="*/ 1093356 h 3364822"/>
              <a:gd name="connsiteX1" fmla="*/ 1539912 w 11151248"/>
              <a:gd name="connsiteY1" fmla="*/ 1079888 h 3364822"/>
              <a:gd name="connsiteX2" fmla="*/ 2469351 w 11151248"/>
              <a:gd name="connsiteY2" fmla="*/ 3363209 h 3364822"/>
              <a:gd name="connsiteX3" fmla="*/ 3948361 w 11151248"/>
              <a:gd name="connsiteY3" fmla="*/ 684700 h 3364822"/>
              <a:gd name="connsiteX4" fmla="*/ 5894886 w 11151248"/>
              <a:gd name="connsiteY4" fmla="*/ 771980 h 3364822"/>
              <a:gd name="connsiteX5" fmla="*/ 9391968 w 11151248"/>
              <a:gd name="connsiteY5" fmla="*/ 0 h 3364822"/>
              <a:gd name="connsiteX6" fmla="*/ 11151248 w 11151248"/>
              <a:gd name="connsiteY6" fmla="*/ 525703 h 3364822"/>
              <a:gd name="connsiteX0" fmla="*/ 0 w 11151248"/>
              <a:gd name="connsiteY0" fmla="*/ 1093356 h 3367015"/>
              <a:gd name="connsiteX1" fmla="*/ 1539912 w 11151248"/>
              <a:gd name="connsiteY1" fmla="*/ 1079888 h 3367015"/>
              <a:gd name="connsiteX2" fmla="*/ 2469351 w 11151248"/>
              <a:gd name="connsiteY2" fmla="*/ 3363209 h 3367015"/>
              <a:gd name="connsiteX3" fmla="*/ 3211303 w 11151248"/>
              <a:gd name="connsiteY3" fmla="*/ 463445 h 3367015"/>
              <a:gd name="connsiteX4" fmla="*/ 5894886 w 11151248"/>
              <a:gd name="connsiteY4" fmla="*/ 771980 h 3367015"/>
              <a:gd name="connsiteX5" fmla="*/ 9391968 w 11151248"/>
              <a:gd name="connsiteY5" fmla="*/ 0 h 3367015"/>
              <a:gd name="connsiteX6" fmla="*/ 11151248 w 11151248"/>
              <a:gd name="connsiteY6" fmla="*/ 525703 h 3367015"/>
              <a:gd name="connsiteX0" fmla="*/ 0 w 11151248"/>
              <a:gd name="connsiteY0" fmla="*/ 1093356 h 3367015"/>
              <a:gd name="connsiteX1" fmla="*/ 1539912 w 11151248"/>
              <a:gd name="connsiteY1" fmla="*/ 1079888 h 3367015"/>
              <a:gd name="connsiteX2" fmla="*/ 2469351 w 11151248"/>
              <a:gd name="connsiteY2" fmla="*/ 3363209 h 3367015"/>
              <a:gd name="connsiteX3" fmla="*/ 3211303 w 11151248"/>
              <a:gd name="connsiteY3" fmla="*/ 463445 h 3367015"/>
              <a:gd name="connsiteX4" fmla="*/ 5571615 w 11151248"/>
              <a:gd name="connsiteY4" fmla="*/ 485650 h 3367015"/>
              <a:gd name="connsiteX5" fmla="*/ 9391968 w 11151248"/>
              <a:gd name="connsiteY5" fmla="*/ 0 h 3367015"/>
              <a:gd name="connsiteX6" fmla="*/ 11151248 w 11151248"/>
              <a:gd name="connsiteY6" fmla="*/ 525703 h 3367015"/>
              <a:gd name="connsiteX0" fmla="*/ 0 w 11151248"/>
              <a:gd name="connsiteY0" fmla="*/ 1093356 h 3367015"/>
              <a:gd name="connsiteX1" fmla="*/ 1539912 w 11151248"/>
              <a:gd name="connsiteY1" fmla="*/ 1079888 h 3367015"/>
              <a:gd name="connsiteX2" fmla="*/ 2469351 w 11151248"/>
              <a:gd name="connsiteY2" fmla="*/ 3363209 h 3367015"/>
              <a:gd name="connsiteX3" fmla="*/ 3211303 w 11151248"/>
              <a:gd name="connsiteY3" fmla="*/ 463445 h 3367015"/>
              <a:gd name="connsiteX4" fmla="*/ 5571615 w 11151248"/>
              <a:gd name="connsiteY4" fmla="*/ 485650 h 3367015"/>
              <a:gd name="connsiteX5" fmla="*/ 9391968 w 11151248"/>
              <a:gd name="connsiteY5" fmla="*/ 0 h 3367015"/>
              <a:gd name="connsiteX6" fmla="*/ 11151248 w 11151248"/>
              <a:gd name="connsiteY6" fmla="*/ 525703 h 3367015"/>
              <a:gd name="connsiteX0" fmla="*/ 0 w 11151248"/>
              <a:gd name="connsiteY0" fmla="*/ 1327626 h 3601285"/>
              <a:gd name="connsiteX1" fmla="*/ 1539912 w 11151248"/>
              <a:gd name="connsiteY1" fmla="*/ 1314158 h 3601285"/>
              <a:gd name="connsiteX2" fmla="*/ 2469351 w 11151248"/>
              <a:gd name="connsiteY2" fmla="*/ 3597479 h 3601285"/>
              <a:gd name="connsiteX3" fmla="*/ 3211303 w 11151248"/>
              <a:gd name="connsiteY3" fmla="*/ 697715 h 3601285"/>
              <a:gd name="connsiteX4" fmla="*/ 5571615 w 11151248"/>
              <a:gd name="connsiteY4" fmla="*/ 719920 h 3601285"/>
              <a:gd name="connsiteX5" fmla="*/ 9249729 w 11151248"/>
              <a:gd name="connsiteY5" fmla="*/ 0 h 3601285"/>
              <a:gd name="connsiteX6" fmla="*/ 11151248 w 11151248"/>
              <a:gd name="connsiteY6" fmla="*/ 759973 h 3601285"/>
              <a:gd name="connsiteX0" fmla="*/ 0 w 11151248"/>
              <a:gd name="connsiteY0" fmla="*/ 1327626 h 3601285"/>
              <a:gd name="connsiteX1" fmla="*/ 1539912 w 11151248"/>
              <a:gd name="connsiteY1" fmla="*/ 1314158 h 3601285"/>
              <a:gd name="connsiteX2" fmla="*/ 2469351 w 11151248"/>
              <a:gd name="connsiteY2" fmla="*/ 3597479 h 3601285"/>
              <a:gd name="connsiteX3" fmla="*/ 3211303 w 11151248"/>
              <a:gd name="connsiteY3" fmla="*/ 697715 h 3601285"/>
              <a:gd name="connsiteX4" fmla="*/ 5571615 w 11151248"/>
              <a:gd name="connsiteY4" fmla="*/ 719920 h 3601285"/>
              <a:gd name="connsiteX5" fmla="*/ 9249729 w 11151248"/>
              <a:gd name="connsiteY5" fmla="*/ 0 h 3601285"/>
              <a:gd name="connsiteX6" fmla="*/ 11151248 w 11151248"/>
              <a:gd name="connsiteY6" fmla="*/ 759973 h 3601285"/>
              <a:gd name="connsiteX0" fmla="*/ 0 w 11151248"/>
              <a:gd name="connsiteY0" fmla="*/ 1327626 h 3606210"/>
              <a:gd name="connsiteX1" fmla="*/ 1539912 w 11151248"/>
              <a:gd name="connsiteY1" fmla="*/ 1314158 h 3606210"/>
              <a:gd name="connsiteX2" fmla="*/ 2469351 w 11151248"/>
              <a:gd name="connsiteY2" fmla="*/ 3597479 h 3606210"/>
              <a:gd name="connsiteX3" fmla="*/ 3250096 w 11151248"/>
              <a:gd name="connsiteY3" fmla="*/ 359326 h 3606210"/>
              <a:gd name="connsiteX4" fmla="*/ 5571615 w 11151248"/>
              <a:gd name="connsiteY4" fmla="*/ 719920 h 3606210"/>
              <a:gd name="connsiteX5" fmla="*/ 9249729 w 11151248"/>
              <a:gd name="connsiteY5" fmla="*/ 0 h 3606210"/>
              <a:gd name="connsiteX6" fmla="*/ 11151248 w 11151248"/>
              <a:gd name="connsiteY6" fmla="*/ 759973 h 3606210"/>
              <a:gd name="connsiteX0" fmla="*/ 0 w 10879700"/>
              <a:gd name="connsiteY0" fmla="*/ 1327626 h 3606210"/>
              <a:gd name="connsiteX1" fmla="*/ 1539912 w 10879700"/>
              <a:gd name="connsiteY1" fmla="*/ 1314158 h 3606210"/>
              <a:gd name="connsiteX2" fmla="*/ 2469351 w 10879700"/>
              <a:gd name="connsiteY2" fmla="*/ 3597479 h 3606210"/>
              <a:gd name="connsiteX3" fmla="*/ 3250096 w 10879700"/>
              <a:gd name="connsiteY3" fmla="*/ 359326 h 3606210"/>
              <a:gd name="connsiteX4" fmla="*/ 5571615 w 10879700"/>
              <a:gd name="connsiteY4" fmla="*/ 719920 h 3606210"/>
              <a:gd name="connsiteX5" fmla="*/ 9249729 w 10879700"/>
              <a:gd name="connsiteY5" fmla="*/ 0 h 3606210"/>
              <a:gd name="connsiteX6" fmla="*/ 10879700 w 10879700"/>
              <a:gd name="connsiteY6" fmla="*/ 525704 h 3606210"/>
              <a:gd name="connsiteX0" fmla="*/ 0 w 10879700"/>
              <a:gd name="connsiteY0" fmla="*/ 1327626 h 3606210"/>
              <a:gd name="connsiteX1" fmla="*/ 1539912 w 10879700"/>
              <a:gd name="connsiteY1" fmla="*/ 1314158 h 3606210"/>
              <a:gd name="connsiteX2" fmla="*/ 2469351 w 10879700"/>
              <a:gd name="connsiteY2" fmla="*/ 3597479 h 3606210"/>
              <a:gd name="connsiteX3" fmla="*/ 3250096 w 10879700"/>
              <a:gd name="connsiteY3" fmla="*/ 359326 h 3606210"/>
              <a:gd name="connsiteX4" fmla="*/ 5571615 w 10879700"/>
              <a:gd name="connsiteY4" fmla="*/ 719920 h 3606210"/>
              <a:gd name="connsiteX5" fmla="*/ 9249729 w 10879700"/>
              <a:gd name="connsiteY5" fmla="*/ 0 h 3606210"/>
              <a:gd name="connsiteX6" fmla="*/ 10879700 w 10879700"/>
              <a:gd name="connsiteY6" fmla="*/ 525704 h 3606210"/>
              <a:gd name="connsiteX0" fmla="*/ 0 w 10802114"/>
              <a:gd name="connsiteY0" fmla="*/ 1412069 h 3690653"/>
              <a:gd name="connsiteX1" fmla="*/ 1539912 w 10802114"/>
              <a:gd name="connsiteY1" fmla="*/ 1398601 h 3690653"/>
              <a:gd name="connsiteX2" fmla="*/ 2469351 w 10802114"/>
              <a:gd name="connsiteY2" fmla="*/ 3681922 h 3690653"/>
              <a:gd name="connsiteX3" fmla="*/ 3250096 w 10802114"/>
              <a:gd name="connsiteY3" fmla="*/ 443769 h 3690653"/>
              <a:gd name="connsiteX4" fmla="*/ 5571615 w 10802114"/>
              <a:gd name="connsiteY4" fmla="*/ 804363 h 3690653"/>
              <a:gd name="connsiteX5" fmla="*/ 9249729 w 10802114"/>
              <a:gd name="connsiteY5" fmla="*/ 84443 h 3690653"/>
              <a:gd name="connsiteX6" fmla="*/ 10802114 w 10802114"/>
              <a:gd name="connsiteY6" fmla="*/ 232713 h 3690653"/>
              <a:gd name="connsiteX0" fmla="*/ 0 w 10802114"/>
              <a:gd name="connsiteY0" fmla="*/ 1327626 h 3606210"/>
              <a:gd name="connsiteX1" fmla="*/ 1539912 w 10802114"/>
              <a:gd name="connsiteY1" fmla="*/ 1314158 h 3606210"/>
              <a:gd name="connsiteX2" fmla="*/ 2469351 w 10802114"/>
              <a:gd name="connsiteY2" fmla="*/ 3597479 h 3606210"/>
              <a:gd name="connsiteX3" fmla="*/ 3250096 w 10802114"/>
              <a:gd name="connsiteY3" fmla="*/ 359326 h 3606210"/>
              <a:gd name="connsiteX4" fmla="*/ 5571615 w 10802114"/>
              <a:gd name="connsiteY4" fmla="*/ 719920 h 3606210"/>
              <a:gd name="connsiteX5" fmla="*/ 9249729 w 10802114"/>
              <a:gd name="connsiteY5" fmla="*/ 0 h 3606210"/>
              <a:gd name="connsiteX6" fmla="*/ 10802114 w 10802114"/>
              <a:gd name="connsiteY6" fmla="*/ 148270 h 3606210"/>
              <a:gd name="connsiteX0" fmla="*/ 0 w 10802114"/>
              <a:gd name="connsiteY0" fmla="*/ 1327626 h 3606210"/>
              <a:gd name="connsiteX1" fmla="*/ 1539912 w 10802114"/>
              <a:gd name="connsiteY1" fmla="*/ 1314158 h 3606210"/>
              <a:gd name="connsiteX2" fmla="*/ 2469351 w 10802114"/>
              <a:gd name="connsiteY2" fmla="*/ 3597479 h 3606210"/>
              <a:gd name="connsiteX3" fmla="*/ 3250096 w 10802114"/>
              <a:gd name="connsiteY3" fmla="*/ 359326 h 3606210"/>
              <a:gd name="connsiteX4" fmla="*/ 5571615 w 10802114"/>
              <a:gd name="connsiteY4" fmla="*/ 719920 h 3606210"/>
              <a:gd name="connsiteX5" fmla="*/ 9249729 w 10802114"/>
              <a:gd name="connsiteY5" fmla="*/ 0 h 3606210"/>
              <a:gd name="connsiteX6" fmla="*/ 10802114 w 10802114"/>
              <a:gd name="connsiteY6" fmla="*/ 57165 h 3606210"/>
              <a:gd name="connsiteX0" fmla="*/ 0 w 10802114"/>
              <a:gd name="connsiteY0" fmla="*/ 1330603 h 3609187"/>
              <a:gd name="connsiteX1" fmla="*/ 1539912 w 10802114"/>
              <a:gd name="connsiteY1" fmla="*/ 1317135 h 3609187"/>
              <a:gd name="connsiteX2" fmla="*/ 2469351 w 10802114"/>
              <a:gd name="connsiteY2" fmla="*/ 3600456 h 3609187"/>
              <a:gd name="connsiteX3" fmla="*/ 3250096 w 10802114"/>
              <a:gd name="connsiteY3" fmla="*/ 362303 h 3609187"/>
              <a:gd name="connsiteX4" fmla="*/ 5571615 w 10802114"/>
              <a:gd name="connsiteY4" fmla="*/ 722897 h 3609187"/>
              <a:gd name="connsiteX5" fmla="*/ 9249729 w 10802114"/>
              <a:gd name="connsiteY5" fmla="*/ 2977 h 3609187"/>
              <a:gd name="connsiteX6" fmla="*/ 10802114 w 10802114"/>
              <a:gd name="connsiteY6" fmla="*/ 8082 h 3609187"/>
              <a:gd name="connsiteX0" fmla="*/ 0 w 10336604"/>
              <a:gd name="connsiteY0" fmla="*/ 1353471 h 3632055"/>
              <a:gd name="connsiteX1" fmla="*/ 1539912 w 10336604"/>
              <a:gd name="connsiteY1" fmla="*/ 1340003 h 3632055"/>
              <a:gd name="connsiteX2" fmla="*/ 2469351 w 10336604"/>
              <a:gd name="connsiteY2" fmla="*/ 3623324 h 3632055"/>
              <a:gd name="connsiteX3" fmla="*/ 3250096 w 10336604"/>
              <a:gd name="connsiteY3" fmla="*/ 385171 h 3632055"/>
              <a:gd name="connsiteX4" fmla="*/ 5571615 w 10336604"/>
              <a:gd name="connsiteY4" fmla="*/ 745765 h 3632055"/>
              <a:gd name="connsiteX5" fmla="*/ 9249729 w 10336604"/>
              <a:gd name="connsiteY5" fmla="*/ 25845 h 3632055"/>
              <a:gd name="connsiteX6" fmla="*/ 10336604 w 10336604"/>
              <a:gd name="connsiteY6" fmla="*/ 4920 h 3632055"/>
              <a:gd name="connsiteX0" fmla="*/ 0 w 10336604"/>
              <a:gd name="connsiteY0" fmla="*/ 1352675 h 3631259"/>
              <a:gd name="connsiteX1" fmla="*/ 1539912 w 10336604"/>
              <a:gd name="connsiteY1" fmla="*/ 1339207 h 3631259"/>
              <a:gd name="connsiteX2" fmla="*/ 2469351 w 10336604"/>
              <a:gd name="connsiteY2" fmla="*/ 3622528 h 3631259"/>
              <a:gd name="connsiteX3" fmla="*/ 3250096 w 10336604"/>
              <a:gd name="connsiteY3" fmla="*/ 384375 h 3631259"/>
              <a:gd name="connsiteX4" fmla="*/ 5571615 w 10336604"/>
              <a:gd name="connsiteY4" fmla="*/ 744969 h 3631259"/>
              <a:gd name="connsiteX5" fmla="*/ 8719564 w 10336604"/>
              <a:gd name="connsiteY5" fmla="*/ 38064 h 3631259"/>
              <a:gd name="connsiteX6" fmla="*/ 10336604 w 10336604"/>
              <a:gd name="connsiteY6" fmla="*/ 4124 h 3631259"/>
              <a:gd name="connsiteX0" fmla="*/ 0 w 10207296"/>
              <a:gd name="connsiteY0" fmla="*/ 1317589 h 3596173"/>
              <a:gd name="connsiteX1" fmla="*/ 1539912 w 10207296"/>
              <a:gd name="connsiteY1" fmla="*/ 1304121 h 3596173"/>
              <a:gd name="connsiteX2" fmla="*/ 2469351 w 10207296"/>
              <a:gd name="connsiteY2" fmla="*/ 3587442 h 3596173"/>
              <a:gd name="connsiteX3" fmla="*/ 3250096 w 10207296"/>
              <a:gd name="connsiteY3" fmla="*/ 349289 h 3596173"/>
              <a:gd name="connsiteX4" fmla="*/ 5571615 w 10207296"/>
              <a:gd name="connsiteY4" fmla="*/ 709883 h 3596173"/>
              <a:gd name="connsiteX5" fmla="*/ 8719564 w 10207296"/>
              <a:gd name="connsiteY5" fmla="*/ 2978 h 3596173"/>
              <a:gd name="connsiteX6" fmla="*/ 10207296 w 10207296"/>
              <a:gd name="connsiteY6" fmla="*/ 8083 h 3596173"/>
              <a:gd name="connsiteX0" fmla="*/ 0 w 10207296"/>
              <a:gd name="connsiteY0" fmla="*/ 1317589 h 3596735"/>
              <a:gd name="connsiteX1" fmla="*/ 1281295 w 10207296"/>
              <a:gd name="connsiteY1" fmla="*/ 1330151 h 3596735"/>
              <a:gd name="connsiteX2" fmla="*/ 2469351 w 10207296"/>
              <a:gd name="connsiteY2" fmla="*/ 3587442 h 3596735"/>
              <a:gd name="connsiteX3" fmla="*/ 3250096 w 10207296"/>
              <a:gd name="connsiteY3" fmla="*/ 349289 h 3596735"/>
              <a:gd name="connsiteX4" fmla="*/ 5571615 w 10207296"/>
              <a:gd name="connsiteY4" fmla="*/ 709883 h 3596735"/>
              <a:gd name="connsiteX5" fmla="*/ 8719564 w 10207296"/>
              <a:gd name="connsiteY5" fmla="*/ 2978 h 3596735"/>
              <a:gd name="connsiteX6" fmla="*/ 10207296 w 10207296"/>
              <a:gd name="connsiteY6" fmla="*/ 8083 h 3596735"/>
              <a:gd name="connsiteX0" fmla="*/ 0 w 10207296"/>
              <a:gd name="connsiteY0" fmla="*/ 1317589 h 2845693"/>
              <a:gd name="connsiteX1" fmla="*/ 1281295 w 10207296"/>
              <a:gd name="connsiteY1" fmla="*/ 1330151 h 2845693"/>
              <a:gd name="connsiteX2" fmla="*/ 2003841 w 10207296"/>
              <a:gd name="connsiteY2" fmla="*/ 2832573 h 2845693"/>
              <a:gd name="connsiteX3" fmla="*/ 3250096 w 10207296"/>
              <a:gd name="connsiteY3" fmla="*/ 349289 h 2845693"/>
              <a:gd name="connsiteX4" fmla="*/ 5571615 w 10207296"/>
              <a:gd name="connsiteY4" fmla="*/ 709883 h 2845693"/>
              <a:gd name="connsiteX5" fmla="*/ 8719564 w 10207296"/>
              <a:gd name="connsiteY5" fmla="*/ 2978 h 2845693"/>
              <a:gd name="connsiteX6" fmla="*/ 10207296 w 10207296"/>
              <a:gd name="connsiteY6" fmla="*/ 8083 h 2845693"/>
              <a:gd name="connsiteX0" fmla="*/ 0 w 10207296"/>
              <a:gd name="connsiteY0" fmla="*/ 1317589 h 2850062"/>
              <a:gd name="connsiteX1" fmla="*/ 1281295 w 10207296"/>
              <a:gd name="connsiteY1" fmla="*/ 1330151 h 2850062"/>
              <a:gd name="connsiteX2" fmla="*/ 2003841 w 10207296"/>
              <a:gd name="connsiteY2" fmla="*/ 2832573 h 2850062"/>
              <a:gd name="connsiteX3" fmla="*/ 2810447 w 10207296"/>
              <a:gd name="connsiteY3" fmla="*/ 180094 h 2850062"/>
              <a:gd name="connsiteX4" fmla="*/ 5571615 w 10207296"/>
              <a:gd name="connsiteY4" fmla="*/ 709883 h 2850062"/>
              <a:gd name="connsiteX5" fmla="*/ 8719564 w 10207296"/>
              <a:gd name="connsiteY5" fmla="*/ 2978 h 2850062"/>
              <a:gd name="connsiteX6" fmla="*/ 10207296 w 10207296"/>
              <a:gd name="connsiteY6" fmla="*/ 8083 h 2850062"/>
              <a:gd name="connsiteX0" fmla="*/ 0 w 10207296"/>
              <a:gd name="connsiteY0" fmla="*/ 1317589 h 2850062"/>
              <a:gd name="connsiteX1" fmla="*/ 1281295 w 10207296"/>
              <a:gd name="connsiteY1" fmla="*/ 1330151 h 2850062"/>
              <a:gd name="connsiteX2" fmla="*/ 2003841 w 10207296"/>
              <a:gd name="connsiteY2" fmla="*/ 2832573 h 2850062"/>
              <a:gd name="connsiteX3" fmla="*/ 2810447 w 10207296"/>
              <a:gd name="connsiteY3" fmla="*/ 180094 h 2850062"/>
              <a:gd name="connsiteX4" fmla="*/ 5041451 w 10207296"/>
              <a:gd name="connsiteY4" fmla="*/ 579733 h 2850062"/>
              <a:gd name="connsiteX5" fmla="*/ 8719564 w 10207296"/>
              <a:gd name="connsiteY5" fmla="*/ 2978 h 2850062"/>
              <a:gd name="connsiteX6" fmla="*/ 10207296 w 10207296"/>
              <a:gd name="connsiteY6" fmla="*/ 8083 h 2850062"/>
              <a:gd name="connsiteX0" fmla="*/ 0 w 10207296"/>
              <a:gd name="connsiteY0" fmla="*/ 1310714 h 2843187"/>
              <a:gd name="connsiteX1" fmla="*/ 1281295 w 10207296"/>
              <a:gd name="connsiteY1" fmla="*/ 1323276 h 2843187"/>
              <a:gd name="connsiteX2" fmla="*/ 2003841 w 10207296"/>
              <a:gd name="connsiteY2" fmla="*/ 2825698 h 2843187"/>
              <a:gd name="connsiteX3" fmla="*/ 2810447 w 10207296"/>
              <a:gd name="connsiteY3" fmla="*/ 173219 h 2843187"/>
              <a:gd name="connsiteX4" fmla="*/ 5041451 w 10207296"/>
              <a:gd name="connsiteY4" fmla="*/ 572858 h 2843187"/>
              <a:gd name="connsiteX5" fmla="*/ 8486809 w 10207296"/>
              <a:gd name="connsiteY5" fmla="*/ 230373 h 2843187"/>
              <a:gd name="connsiteX6" fmla="*/ 10207296 w 10207296"/>
              <a:gd name="connsiteY6" fmla="*/ 1208 h 2843187"/>
              <a:gd name="connsiteX0" fmla="*/ 0 w 10220227"/>
              <a:gd name="connsiteY0" fmla="*/ 1239305 h 2771778"/>
              <a:gd name="connsiteX1" fmla="*/ 1281295 w 10220227"/>
              <a:gd name="connsiteY1" fmla="*/ 1251867 h 2771778"/>
              <a:gd name="connsiteX2" fmla="*/ 2003841 w 10220227"/>
              <a:gd name="connsiteY2" fmla="*/ 2754289 h 2771778"/>
              <a:gd name="connsiteX3" fmla="*/ 2810447 w 10220227"/>
              <a:gd name="connsiteY3" fmla="*/ 101810 h 2771778"/>
              <a:gd name="connsiteX4" fmla="*/ 5041451 w 10220227"/>
              <a:gd name="connsiteY4" fmla="*/ 501449 h 2771778"/>
              <a:gd name="connsiteX5" fmla="*/ 8486809 w 10220227"/>
              <a:gd name="connsiteY5" fmla="*/ 158964 h 2771778"/>
              <a:gd name="connsiteX6" fmla="*/ 10220227 w 10220227"/>
              <a:gd name="connsiteY6" fmla="*/ 164069 h 2771778"/>
              <a:gd name="connsiteX0" fmla="*/ 0 w 10220227"/>
              <a:gd name="connsiteY0" fmla="*/ 1295096 h 2827569"/>
              <a:gd name="connsiteX1" fmla="*/ 1281295 w 10220227"/>
              <a:gd name="connsiteY1" fmla="*/ 1307658 h 2827569"/>
              <a:gd name="connsiteX2" fmla="*/ 2003841 w 10220227"/>
              <a:gd name="connsiteY2" fmla="*/ 2810080 h 2827569"/>
              <a:gd name="connsiteX3" fmla="*/ 2810447 w 10220227"/>
              <a:gd name="connsiteY3" fmla="*/ 157601 h 2827569"/>
              <a:gd name="connsiteX4" fmla="*/ 5015589 w 10220227"/>
              <a:gd name="connsiteY4" fmla="*/ 283925 h 2827569"/>
              <a:gd name="connsiteX5" fmla="*/ 8486809 w 10220227"/>
              <a:gd name="connsiteY5" fmla="*/ 214755 h 2827569"/>
              <a:gd name="connsiteX6" fmla="*/ 10220227 w 10220227"/>
              <a:gd name="connsiteY6" fmla="*/ 219860 h 2827569"/>
              <a:gd name="connsiteX0" fmla="*/ 0 w 10220227"/>
              <a:gd name="connsiteY0" fmla="*/ 1295096 h 2827569"/>
              <a:gd name="connsiteX1" fmla="*/ 1281295 w 10220227"/>
              <a:gd name="connsiteY1" fmla="*/ 1307658 h 2827569"/>
              <a:gd name="connsiteX2" fmla="*/ 2003841 w 10220227"/>
              <a:gd name="connsiteY2" fmla="*/ 2810080 h 2827569"/>
              <a:gd name="connsiteX3" fmla="*/ 2810447 w 10220227"/>
              <a:gd name="connsiteY3" fmla="*/ 157601 h 2827569"/>
              <a:gd name="connsiteX4" fmla="*/ 5015589 w 10220227"/>
              <a:gd name="connsiteY4" fmla="*/ 283925 h 2827569"/>
              <a:gd name="connsiteX5" fmla="*/ 8486809 w 10220227"/>
              <a:gd name="connsiteY5" fmla="*/ 214755 h 2827569"/>
              <a:gd name="connsiteX6" fmla="*/ 10220227 w 10220227"/>
              <a:gd name="connsiteY6" fmla="*/ 219860 h 282756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86809 w 10220227"/>
              <a:gd name="connsiteY5" fmla="*/ 233505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86809 w 10220227"/>
              <a:gd name="connsiteY5" fmla="*/ 233505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99740 w 10220227"/>
              <a:gd name="connsiteY5" fmla="*/ 363655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99740 w 10220227"/>
              <a:gd name="connsiteY5" fmla="*/ 493805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99740 w 10220227"/>
              <a:gd name="connsiteY5" fmla="*/ 493805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99740 w 10220227"/>
              <a:gd name="connsiteY5" fmla="*/ 493805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99740 w 10220227"/>
              <a:gd name="connsiteY5" fmla="*/ 272550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99740 w 10220227"/>
              <a:gd name="connsiteY5" fmla="*/ 272550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8499740 w 10220227"/>
              <a:gd name="connsiteY5" fmla="*/ 129385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7982507 w 10220227"/>
              <a:gd name="connsiteY5" fmla="*/ 38280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7982507 w 10220227"/>
              <a:gd name="connsiteY5" fmla="*/ 38280 h 2846319"/>
              <a:gd name="connsiteX6" fmla="*/ 10220227 w 10220227"/>
              <a:gd name="connsiteY6" fmla="*/ 238610 h 2846319"/>
              <a:gd name="connsiteX0" fmla="*/ 0 w 10220227"/>
              <a:gd name="connsiteY0" fmla="*/ 1313846 h 2846319"/>
              <a:gd name="connsiteX1" fmla="*/ 1281295 w 10220227"/>
              <a:gd name="connsiteY1" fmla="*/ 1326408 h 2846319"/>
              <a:gd name="connsiteX2" fmla="*/ 2003841 w 10220227"/>
              <a:gd name="connsiteY2" fmla="*/ 2828830 h 2846319"/>
              <a:gd name="connsiteX3" fmla="*/ 2810447 w 10220227"/>
              <a:gd name="connsiteY3" fmla="*/ 176351 h 2846319"/>
              <a:gd name="connsiteX4" fmla="*/ 5015589 w 10220227"/>
              <a:gd name="connsiteY4" fmla="*/ 302675 h 2846319"/>
              <a:gd name="connsiteX5" fmla="*/ 7982507 w 10220227"/>
              <a:gd name="connsiteY5" fmla="*/ 38280 h 2846319"/>
              <a:gd name="connsiteX6" fmla="*/ 10220227 w 10220227"/>
              <a:gd name="connsiteY6" fmla="*/ 238610 h 2846319"/>
              <a:gd name="connsiteX0" fmla="*/ 0 w 10220227"/>
              <a:gd name="connsiteY0" fmla="*/ 1292715 h 1336077"/>
              <a:gd name="connsiteX1" fmla="*/ 1281295 w 10220227"/>
              <a:gd name="connsiteY1" fmla="*/ 1305277 h 1336077"/>
              <a:gd name="connsiteX2" fmla="*/ 2029703 w 10220227"/>
              <a:gd name="connsiteY2" fmla="*/ 881477 h 1336077"/>
              <a:gd name="connsiteX3" fmla="*/ 2810447 w 10220227"/>
              <a:gd name="connsiteY3" fmla="*/ 155220 h 1336077"/>
              <a:gd name="connsiteX4" fmla="*/ 5015589 w 10220227"/>
              <a:gd name="connsiteY4" fmla="*/ 281544 h 1336077"/>
              <a:gd name="connsiteX5" fmla="*/ 7982507 w 10220227"/>
              <a:gd name="connsiteY5" fmla="*/ 17149 h 1336077"/>
              <a:gd name="connsiteX6" fmla="*/ 10220227 w 10220227"/>
              <a:gd name="connsiteY6" fmla="*/ 217479 h 1336077"/>
              <a:gd name="connsiteX0" fmla="*/ 0 w 10220227"/>
              <a:gd name="connsiteY0" fmla="*/ 1351518 h 1394880"/>
              <a:gd name="connsiteX1" fmla="*/ 1281295 w 10220227"/>
              <a:gd name="connsiteY1" fmla="*/ 1364080 h 1394880"/>
              <a:gd name="connsiteX2" fmla="*/ 2029703 w 10220227"/>
              <a:gd name="connsiteY2" fmla="*/ 940280 h 1394880"/>
              <a:gd name="connsiteX3" fmla="*/ 2913894 w 10220227"/>
              <a:gd name="connsiteY3" fmla="*/ 18798 h 1394880"/>
              <a:gd name="connsiteX4" fmla="*/ 5015589 w 10220227"/>
              <a:gd name="connsiteY4" fmla="*/ 340347 h 1394880"/>
              <a:gd name="connsiteX5" fmla="*/ 7982507 w 10220227"/>
              <a:gd name="connsiteY5" fmla="*/ 75952 h 1394880"/>
              <a:gd name="connsiteX6" fmla="*/ 10220227 w 10220227"/>
              <a:gd name="connsiteY6" fmla="*/ 276282 h 1394880"/>
              <a:gd name="connsiteX0" fmla="*/ 0 w 10220227"/>
              <a:gd name="connsiteY0" fmla="*/ 1351518 h 1351518"/>
              <a:gd name="connsiteX1" fmla="*/ 2029703 w 10220227"/>
              <a:gd name="connsiteY1" fmla="*/ 940280 h 1351518"/>
              <a:gd name="connsiteX2" fmla="*/ 2913894 w 10220227"/>
              <a:gd name="connsiteY2" fmla="*/ 18798 h 1351518"/>
              <a:gd name="connsiteX3" fmla="*/ 5015589 w 10220227"/>
              <a:gd name="connsiteY3" fmla="*/ 340347 h 1351518"/>
              <a:gd name="connsiteX4" fmla="*/ 7982507 w 10220227"/>
              <a:gd name="connsiteY4" fmla="*/ 75952 h 1351518"/>
              <a:gd name="connsiteX5" fmla="*/ 10220227 w 10220227"/>
              <a:gd name="connsiteY5" fmla="*/ 276282 h 1351518"/>
              <a:gd name="connsiteX0" fmla="*/ 0 w 10220227"/>
              <a:gd name="connsiteY0" fmla="*/ 1366791 h 1366791"/>
              <a:gd name="connsiteX1" fmla="*/ 1085752 w 10220227"/>
              <a:gd name="connsiteY1" fmla="*/ 1241884 h 1366791"/>
              <a:gd name="connsiteX2" fmla="*/ 2913894 w 10220227"/>
              <a:gd name="connsiteY2" fmla="*/ 34071 h 1366791"/>
              <a:gd name="connsiteX3" fmla="*/ 5015589 w 10220227"/>
              <a:gd name="connsiteY3" fmla="*/ 355620 h 1366791"/>
              <a:gd name="connsiteX4" fmla="*/ 7982507 w 10220227"/>
              <a:gd name="connsiteY4" fmla="*/ 91225 h 1366791"/>
              <a:gd name="connsiteX5" fmla="*/ 10220227 w 10220227"/>
              <a:gd name="connsiteY5" fmla="*/ 291555 h 1366791"/>
              <a:gd name="connsiteX0" fmla="*/ 0 w 10220227"/>
              <a:gd name="connsiteY0" fmla="*/ 1415565 h 1415565"/>
              <a:gd name="connsiteX1" fmla="*/ 1085752 w 10220227"/>
              <a:gd name="connsiteY1" fmla="*/ 1290658 h 1415565"/>
              <a:gd name="connsiteX2" fmla="*/ 1724257 w 10220227"/>
              <a:gd name="connsiteY2" fmla="*/ 30785 h 1415565"/>
              <a:gd name="connsiteX3" fmla="*/ 5015589 w 10220227"/>
              <a:gd name="connsiteY3" fmla="*/ 404394 h 1415565"/>
              <a:gd name="connsiteX4" fmla="*/ 7982507 w 10220227"/>
              <a:gd name="connsiteY4" fmla="*/ 139999 h 1415565"/>
              <a:gd name="connsiteX5" fmla="*/ 10220227 w 10220227"/>
              <a:gd name="connsiteY5" fmla="*/ 340329 h 1415565"/>
              <a:gd name="connsiteX0" fmla="*/ 0 w 10220227"/>
              <a:gd name="connsiteY0" fmla="*/ 1434581 h 1706780"/>
              <a:gd name="connsiteX1" fmla="*/ 852997 w 10220227"/>
              <a:gd name="connsiteY1" fmla="*/ 1648065 h 1706780"/>
              <a:gd name="connsiteX2" fmla="*/ 1724257 w 10220227"/>
              <a:gd name="connsiteY2" fmla="*/ 49801 h 1706780"/>
              <a:gd name="connsiteX3" fmla="*/ 5015589 w 10220227"/>
              <a:gd name="connsiteY3" fmla="*/ 423410 h 1706780"/>
              <a:gd name="connsiteX4" fmla="*/ 7982507 w 10220227"/>
              <a:gd name="connsiteY4" fmla="*/ 159015 h 1706780"/>
              <a:gd name="connsiteX5" fmla="*/ 10220227 w 10220227"/>
              <a:gd name="connsiteY5" fmla="*/ 359345 h 1706780"/>
              <a:gd name="connsiteX0" fmla="*/ 0 w 10129711"/>
              <a:gd name="connsiteY0" fmla="*/ 1799002 h 1802888"/>
              <a:gd name="connsiteX1" fmla="*/ 762481 w 10129711"/>
              <a:gd name="connsiteY1" fmla="*/ 1648065 h 1802888"/>
              <a:gd name="connsiteX2" fmla="*/ 1633741 w 10129711"/>
              <a:gd name="connsiteY2" fmla="*/ 49801 h 1802888"/>
              <a:gd name="connsiteX3" fmla="*/ 4925073 w 10129711"/>
              <a:gd name="connsiteY3" fmla="*/ 423410 h 1802888"/>
              <a:gd name="connsiteX4" fmla="*/ 7891991 w 10129711"/>
              <a:gd name="connsiteY4" fmla="*/ 159015 h 1802888"/>
              <a:gd name="connsiteX5" fmla="*/ 10129711 w 10129711"/>
              <a:gd name="connsiteY5" fmla="*/ 359345 h 1802888"/>
              <a:gd name="connsiteX0" fmla="*/ 0 w 10129711"/>
              <a:gd name="connsiteY0" fmla="*/ 1801310 h 1830355"/>
              <a:gd name="connsiteX1" fmla="*/ 762481 w 10129711"/>
              <a:gd name="connsiteY1" fmla="*/ 1689418 h 1830355"/>
              <a:gd name="connsiteX2" fmla="*/ 1633741 w 10129711"/>
              <a:gd name="connsiteY2" fmla="*/ 52109 h 1830355"/>
              <a:gd name="connsiteX3" fmla="*/ 4925073 w 10129711"/>
              <a:gd name="connsiteY3" fmla="*/ 425718 h 1830355"/>
              <a:gd name="connsiteX4" fmla="*/ 7891991 w 10129711"/>
              <a:gd name="connsiteY4" fmla="*/ 161323 h 1830355"/>
              <a:gd name="connsiteX5" fmla="*/ 10129711 w 10129711"/>
              <a:gd name="connsiteY5" fmla="*/ 361653 h 1830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29711" h="1830355" extrusionOk="0">
                <a:moveTo>
                  <a:pt x="0" y="1801310"/>
                </a:moveTo>
                <a:cubicBezTo>
                  <a:pt x="422855" y="1715636"/>
                  <a:pt x="490191" y="1980952"/>
                  <a:pt x="762481" y="1689418"/>
                </a:cubicBezTo>
                <a:cubicBezTo>
                  <a:pt x="1034771" y="1397885"/>
                  <a:pt x="939976" y="262726"/>
                  <a:pt x="1633741" y="52109"/>
                </a:cubicBezTo>
                <a:cubicBezTo>
                  <a:pt x="2327506" y="-158508"/>
                  <a:pt x="3867932" y="331126"/>
                  <a:pt x="4925073" y="425718"/>
                </a:cubicBezTo>
                <a:cubicBezTo>
                  <a:pt x="6333411" y="588030"/>
                  <a:pt x="6556310" y="241414"/>
                  <a:pt x="7891991" y="161323"/>
                </a:cubicBezTo>
                <a:cubicBezTo>
                  <a:pt x="8573227" y="56536"/>
                  <a:pt x="9120591" y="470699"/>
                  <a:pt x="10129711" y="361653"/>
                </a:cubicBezTo>
              </a:path>
            </a:pathLst>
          </a:custGeom>
          <a:noFill/>
          <a:ln w="57150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/>
          <a:lstStyle/>
          <a:p>
            <a:pPr algn="ctr" defTabSz="914326">
              <a:defRPr/>
            </a:pPr>
            <a:endParaRPr lang="ru-RU" sz="1397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ACBDA792-F948-10ED-8704-D36C3B73CF27}"/>
              </a:ext>
            </a:extLst>
          </p:cNvPr>
          <p:cNvGrpSpPr/>
          <p:nvPr/>
        </p:nvGrpSpPr>
        <p:grpSpPr bwMode="auto">
          <a:xfrm>
            <a:off x="526738" y="1490503"/>
            <a:ext cx="9074756" cy="3876994"/>
            <a:chOff x="5102190" y="2099573"/>
            <a:chExt cx="2421918" cy="1034712"/>
          </a:xfrm>
        </p:grpSpPr>
        <p:cxnSp>
          <p:nvCxnSpPr>
            <p:cNvPr id="7" name="Прямая со стрелкой 6">
              <a:extLst>
                <a:ext uri="{FF2B5EF4-FFF2-40B4-BE49-F238E27FC236}">
                  <a16:creationId xmlns:a16="http://schemas.microsoft.com/office/drawing/2014/main" id="{E9CA8BD2-38D6-ED79-5A76-4B07B4882A5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102190" y="3031832"/>
              <a:ext cx="2421918" cy="0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26DF74DA-BB02-C05A-2A2E-F933BD7025E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102190" y="2099573"/>
              <a:ext cx="0" cy="1034712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F852CAE-7200-0A99-5336-74740D6C1781}"/>
              </a:ext>
            </a:extLst>
          </p:cNvPr>
          <p:cNvSpPr/>
          <p:nvPr/>
        </p:nvSpPr>
        <p:spPr bwMode="auto">
          <a:xfrm>
            <a:off x="644615" y="4401308"/>
            <a:ext cx="1182509" cy="4090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Как выпустить товар на рынок </a:t>
            </a:r>
            <a:br>
              <a:rPr lang="ru-RU" sz="1016" b="1" kern="0" dirty="0">
                <a:latin typeface="Arial Narrow"/>
                <a:cs typeface="Segoe UI Semibold"/>
              </a:rPr>
            </a:br>
            <a:r>
              <a:rPr lang="ru-RU" sz="1016" b="1" kern="0" dirty="0">
                <a:latin typeface="Arial Narrow"/>
                <a:cs typeface="Segoe UI Semibold"/>
              </a:rPr>
              <a:t>…?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8A48839-EFF1-9FA1-1FEA-BBF1523B0E34}"/>
              </a:ext>
            </a:extLst>
          </p:cNvPr>
          <p:cNvSpPr/>
          <p:nvPr/>
        </p:nvSpPr>
        <p:spPr bwMode="auto">
          <a:xfrm>
            <a:off x="1673577" y="1443231"/>
            <a:ext cx="1486311" cy="50255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Компания … помогает бизнесу ….</a:t>
            </a:r>
            <a:endParaRPr lang="ru-RU" sz="1016" b="1" kern="0" dirty="0">
              <a:solidFill>
                <a:srgbClr val="FC131B"/>
              </a:solidFill>
              <a:latin typeface="Arial Narrow"/>
              <a:cs typeface="Segoe UI Semibold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1B7F9B5-5A6C-4992-59EC-22EAAC066B7F}"/>
              </a:ext>
            </a:extLst>
          </p:cNvPr>
          <p:cNvSpPr/>
          <p:nvPr/>
        </p:nvSpPr>
        <p:spPr bwMode="auto">
          <a:xfrm>
            <a:off x="3042926" y="2452808"/>
            <a:ext cx="1306128" cy="5103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solidFill>
                  <a:srgbClr val="3C3C3C"/>
                </a:solidFill>
                <a:latin typeface="Arial Narrow"/>
                <a:cs typeface="Segoe UI Semibold"/>
              </a:rPr>
              <a:t>Мы проводим комплексную работу по …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76F1654C-8E98-23EC-94BD-128BF74953A5}"/>
              </a:ext>
            </a:extLst>
          </p:cNvPr>
          <p:cNvSpPr/>
          <p:nvPr/>
        </p:nvSpPr>
        <p:spPr bwMode="auto">
          <a:xfrm>
            <a:off x="913964" y="4079314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ru-RU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1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D91AB981-33F9-9A6E-48C5-03AD4A90DD7D}"/>
              </a:ext>
            </a:extLst>
          </p:cNvPr>
          <p:cNvSpPr/>
          <p:nvPr/>
        </p:nvSpPr>
        <p:spPr bwMode="auto">
          <a:xfrm>
            <a:off x="1673577" y="1926751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2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0A130988-3925-0204-35EF-69617145F028}"/>
              </a:ext>
            </a:extLst>
          </p:cNvPr>
          <p:cNvSpPr/>
          <p:nvPr/>
        </p:nvSpPr>
        <p:spPr bwMode="auto">
          <a:xfrm>
            <a:off x="3077665" y="1969551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3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AABB4D18-B81B-9660-5762-2B578ABE927E}"/>
              </a:ext>
            </a:extLst>
          </p:cNvPr>
          <p:cNvSpPr/>
          <p:nvPr/>
        </p:nvSpPr>
        <p:spPr bwMode="auto">
          <a:xfrm>
            <a:off x="4371685" y="2349396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4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C60D5326-7E90-1BD9-7D18-D542BE8AE49C}"/>
              </a:ext>
            </a:extLst>
          </p:cNvPr>
          <p:cNvSpPr/>
          <p:nvPr/>
        </p:nvSpPr>
        <p:spPr bwMode="auto">
          <a:xfrm>
            <a:off x="5600795" y="2340673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5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8734CE8D-A0B3-B8B5-96B3-905C6FAC698D}"/>
              </a:ext>
            </a:extLst>
          </p:cNvPr>
          <p:cNvSpPr/>
          <p:nvPr/>
        </p:nvSpPr>
        <p:spPr bwMode="auto">
          <a:xfrm>
            <a:off x="6619695" y="1968877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6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542ACA57-665E-DF42-52D7-8ABC7F2B991B}"/>
              </a:ext>
            </a:extLst>
          </p:cNvPr>
          <p:cNvSpPr/>
          <p:nvPr/>
        </p:nvSpPr>
        <p:spPr bwMode="auto">
          <a:xfrm>
            <a:off x="7412916" y="1945785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7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AC19F638-F3D2-902D-4B5A-59D0407B9A74}"/>
              </a:ext>
            </a:extLst>
          </p:cNvPr>
          <p:cNvSpPr/>
          <p:nvPr/>
        </p:nvSpPr>
        <p:spPr bwMode="auto">
          <a:xfrm>
            <a:off x="8900396" y="2196446"/>
            <a:ext cx="335308" cy="33530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6"/>
            <a:r>
              <a:rPr lang="en-US" sz="1799" kern="0" dirty="0">
                <a:solidFill>
                  <a:srgbClr val="FFFFFF"/>
                </a:solidFill>
                <a:latin typeface="Segoe UI Semibold"/>
                <a:ea typeface="Segoe UI Black" panose="020B0A02040204020203" pitchFamily="34" charset="0"/>
                <a:cs typeface="Arial"/>
              </a:rPr>
              <a:t>8</a:t>
            </a:r>
            <a:endParaRPr lang="ru-RU" sz="1799" kern="0" dirty="0">
              <a:solidFill>
                <a:srgbClr val="FFFFFF"/>
              </a:solidFill>
              <a:latin typeface="Segoe UI Semibold"/>
              <a:ea typeface="Segoe UI Black" panose="020B0A02040204020203" pitchFamily="34" charset="0"/>
              <a:cs typeface="Arial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F8B1E25-AA5E-1EE2-8424-81895DB1ECDA}"/>
              </a:ext>
            </a:extLst>
          </p:cNvPr>
          <p:cNvSpPr/>
          <p:nvPr/>
        </p:nvSpPr>
        <p:spPr bwMode="auto">
          <a:xfrm>
            <a:off x="5703263" y="2767842"/>
            <a:ext cx="971906" cy="45728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Нам доверяют более 10 лет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87F50E2E-7ABD-B782-6D7C-88A55DCBF606}"/>
              </a:ext>
            </a:extLst>
          </p:cNvPr>
          <p:cNvSpPr/>
          <p:nvPr/>
        </p:nvSpPr>
        <p:spPr bwMode="auto">
          <a:xfrm>
            <a:off x="4397134" y="1839057"/>
            <a:ext cx="1306128" cy="51033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7 типов задач, которые мы решаем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9085E194-DBF0-3419-5679-7CD664DA705D}"/>
              </a:ext>
            </a:extLst>
          </p:cNvPr>
          <p:cNvSpPr/>
          <p:nvPr/>
        </p:nvSpPr>
        <p:spPr bwMode="auto">
          <a:xfrm>
            <a:off x="6551826" y="1409299"/>
            <a:ext cx="1196356" cy="45728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География наших проектов – вся Россия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24E92B0-338F-3AA6-556A-015EF8CC662F}"/>
              </a:ext>
            </a:extLst>
          </p:cNvPr>
          <p:cNvSpPr/>
          <p:nvPr/>
        </p:nvSpPr>
        <p:spPr bwMode="auto">
          <a:xfrm>
            <a:off x="7436454" y="2344837"/>
            <a:ext cx="1196356" cy="45728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В области комплексных решений в области …</a:t>
            </a:r>
            <a:br>
              <a:rPr lang="ru-RU" sz="1016" b="1" kern="0" dirty="0">
                <a:latin typeface="Arial Narrow"/>
                <a:cs typeface="Segoe UI Semibold"/>
              </a:rPr>
            </a:br>
            <a:r>
              <a:rPr lang="ru-RU" sz="1016" b="1" kern="0" dirty="0">
                <a:latin typeface="Arial Narrow"/>
                <a:cs typeface="Segoe UI Semibold"/>
              </a:rPr>
              <a:t>– мы первые!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FD010A7E-1269-8030-94B7-9F3BC5F1AFE1}"/>
              </a:ext>
            </a:extLst>
          </p:cNvPr>
          <p:cNvSpPr/>
          <p:nvPr/>
        </p:nvSpPr>
        <p:spPr bwMode="auto">
          <a:xfrm>
            <a:off x="8733109" y="2631504"/>
            <a:ext cx="688165" cy="45728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Ins="0" rtlCol="0" anchor="t"/>
          <a:lstStyle/>
          <a:p>
            <a:pPr defTabSz="387066">
              <a:spcBef>
                <a:spcPts val="600"/>
              </a:spcBef>
            </a:pPr>
            <a:r>
              <a:rPr lang="ru-RU" sz="1016" b="1" kern="0" dirty="0">
                <a:latin typeface="Arial Narrow"/>
                <a:cs typeface="Segoe UI Semibold"/>
              </a:rPr>
              <a:t>Контакты для связи</a:t>
            </a:r>
          </a:p>
        </p:txBody>
      </p:sp>
    </p:spTree>
    <p:extLst>
      <p:ext uri="{BB962C8B-B14F-4D97-AF65-F5344CB8AC3E}">
        <p14:creationId xmlns:p14="http://schemas.microsoft.com/office/powerpoint/2010/main" val="1388516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GMYdetqbqsLqVOhLzw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GMYdetqbqsLqVOhLzw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GMYdetqbqsLqVOhLzw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MwEb_JIZPsNxaw..bv_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БЕРЕМ ВОТ ЭТОТ (переименовать)">
  <a:themeElements>
    <a:clrScheme name="Другая 34">
      <a:dk1>
        <a:srgbClr val="3D424C"/>
      </a:dk1>
      <a:lt1>
        <a:srgbClr val="FFFFFF"/>
      </a:lt1>
      <a:dk2>
        <a:srgbClr val="002266"/>
      </a:dk2>
      <a:lt2>
        <a:srgbClr val="DFE8F2"/>
      </a:lt2>
      <a:accent1>
        <a:srgbClr val="3A5BA7"/>
      </a:accent1>
      <a:accent2>
        <a:srgbClr val="72A0D5"/>
      </a:accent2>
      <a:accent3>
        <a:srgbClr val="56B78D"/>
      </a:accent3>
      <a:accent4>
        <a:srgbClr val="FAAF58"/>
      </a:accent4>
      <a:accent5>
        <a:srgbClr val="FF6D6D"/>
      </a:accent5>
      <a:accent6>
        <a:srgbClr val="7D8696"/>
      </a:accent6>
      <a:hlink>
        <a:srgbClr val="3A5BA7"/>
      </a:hlink>
      <a:folHlink>
        <a:srgbClr val="7D8696"/>
      </a:folHlink>
    </a:clrScheme>
    <a:fontScheme name="Другая 16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презентации BITOBE_основной" id="{DEECF613-5314-442F-8727-B60B45B37289}" vid="{245F2E1E-5D45-4523-A95D-4AB66856489A}"/>
    </a:ext>
  </a:extLst>
</a:theme>
</file>

<file path=ppt/theme/theme2.xml><?xml version="1.0" encoding="utf-8"?>
<a:theme xmlns:a="http://schemas.openxmlformats.org/drawingml/2006/main" name="2_BITOBE 2021">
  <a:themeElements>
    <a:clrScheme name="Другая 34">
      <a:dk1>
        <a:srgbClr val="3D424C"/>
      </a:dk1>
      <a:lt1>
        <a:srgbClr val="FFFFFF"/>
      </a:lt1>
      <a:dk2>
        <a:srgbClr val="002266"/>
      </a:dk2>
      <a:lt2>
        <a:srgbClr val="DFE8F2"/>
      </a:lt2>
      <a:accent1>
        <a:srgbClr val="3A5BA7"/>
      </a:accent1>
      <a:accent2>
        <a:srgbClr val="72A0D5"/>
      </a:accent2>
      <a:accent3>
        <a:srgbClr val="56B78D"/>
      </a:accent3>
      <a:accent4>
        <a:srgbClr val="FAAF58"/>
      </a:accent4>
      <a:accent5>
        <a:srgbClr val="FF6D6D"/>
      </a:accent5>
      <a:accent6>
        <a:srgbClr val="7D8696"/>
      </a:accent6>
      <a:hlink>
        <a:srgbClr val="3A5BA7"/>
      </a:hlink>
      <a:folHlink>
        <a:srgbClr val="7D8696"/>
      </a:folHlink>
    </a:clrScheme>
    <a:fontScheme name="Другая 16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TOBE 2021" id="{F32BD2E9-85E1-41C3-9BC8-31D0375B8197}" vid="{590F9087-2E63-45AA-8838-4B6272EDF924}"/>
    </a:ext>
  </a:extLst>
</a:theme>
</file>

<file path=ppt/theme/theme3.xml><?xml version="1.0" encoding="utf-8"?>
<a:theme xmlns:a="http://schemas.openxmlformats.org/drawingml/2006/main" name="BITOBE 2021">
  <a:themeElements>
    <a:clrScheme name="Другая 34">
      <a:dk1>
        <a:srgbClr val="3D424C"/>
      </a:dk1>
      <a:lt1>
        <a:srgbClr val="FFFFFF"/>
      </a:lt1>
      <a:dk2>
        <a:srgbClr val="002266"/>
      </a:dk2>
      <a:lt2>
        <a:srgbClr val="DFE8F2"/>
      </a:lt2>
      <a:accent1>
        <a:srgbClr val="3A5BA7"/>
      </a:accent1>
      <a:accent2>
        <a:srgbClr val="72A0D5"/>
      </a:accent2>
      <a:accent3>
        <a:srgbClr val="56B78D"/>
      </a:accent3>
      <a:accent4>
        <a:srgbClr val="FAAF58"/>
      </a:accent4>
      <a:accent5>
        <a:srgbClr val="FF6D6D"/>
      </a:accent5>
      <a:accent6>
        <a:srgbClr val="7D8696"/>
      </a:accent6>
      <a:hlink>
        <a:srgbClr val="3A5BA7"/>
      </a:hlink>
      <a:folHlink>
        <a:srgbClr val="7D8696"/>
      </a:folHlink>
    </a:clrScheme>
    <a:fontScheme name="Другая 16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ITOBE 2021" id="{F32BD2E9-85E1-41C3-9BC8-31D0375B8197}" vid="{590F9087-2E63-45AA-8838-4B6272EDF924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4E24BA366FC24CA3364A7E6971769C" ma:contentTypeVersion="9" ma:contentTypeDescription="Create a new document." ma:contentTypeScope="" ma:versionID="f3da844a602ce6ed993b3c139ad585ca">
  <xsd:schema xmlns:xsd="http://www.w3.org/2001/XMLSchema" xmlns:xs="http://www.w3.org/2001/XMLSchema" xmlns:p="http://schemas.microsoft.com/office/2006/metadata/properties" xmlns:ns3="1da85ce9-5d1b-463b-91f0-fb4262bf5dd3" xmlns:ns4="d9eeceb5-9aca-45d7-bd55-c328b3719733" targetNamespace="http://schemas.microsoft.com/office/2006/metadata/properties" ma:root="true" ma:fieldsID="c55c7aa776d6a2b6b58c4d64ed009dea" ns3:_="" ns4:_="">
    <xsd:import namespace="1da85ce9-5d1b-463b-91f0-fb4262bf5dd3"/>
    <xsd:import namespace="d9eeceb5-9aca-45d7-bd55-c328b37197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_activity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a85ce9-5d1b-463b-91f0-fb4262bf5d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eeceb5-9aca-45d7-bd55-c328b371973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da85ce9-5d1b-463b-91f0-fb4262bf5dd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322F79-B861-4DF6-8D47-737E9E6C1910}">
  <ds:schemaRefs>
    <ds:schemaRef ds:uri="1da85ce9-5d1b-463b-91f0-fb4262bf5dd3"/>
    <ds:schemaRef ds:uri="d9eeceb5-9aca-45d7-bd55-c328b371973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F6CD2F0-0F2F-4905-889F-07179138B7FF}">
  <ds:schemaRefs>
    <ds:schemaRef ds:uri="1da85ce9-5d1b-463b-91f0-fb4262bf5dd3"/>
    <ds:schemaRef ds:uri="http://purl.org/dc/elements/1.1/"/>
    <ds:schemaRef ds:uri="http://purl.org/dc/dcmitype/"/>
    <ds:schemaRef ds:uri="d9eeceb5-9aca-45d7-bd55-c328b3719733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86C861D-8BE2-488B-ADAF-46843D47B07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08</TotalTime>
  <Words>256</Words>
  <Application>Microsoft Office PowerPoint</Application>
  <PresentationFormat>Широкоэкранный</PresentationFormat>
  <Paragraphs>82</Paragraphs>
  <Slides>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5" baseType="lpstr">
      <vt:lpstr>Arial</vt:lpstr>
      <vt:lpstr>Arial Narrow</vt:lpstr>
      <vt:lpstr>Arial,Sans-Serif</vt:lpstr>
      <vt:lpstr>Calibri</vt:lpstr>
      <vt:lpstr>Segoe UI</vt:lpstr>
      <vt:lpstr>Segoe UI Light</vt:lpstr>
      <vt:lpstr>Segoe UI Semibold</vt:lpstr>
      <vt:lpstr>Wingdings</vt:lpstr>
      <vt:lpstr>БЕРЕМ ВОТ ЭТОТ (переименовать)</vt:lpstr>
      <vt:lpstr>2_BITOBE 2021</vt:lpstr>
      <vt:lpstr>BITOBE 2021</vt:lpstr>
      <vt:lpstr>Слайд think-cell</vt:lpstr>
      <vt:lpstr>Название презентации</vt:lpstr>
      <vt:lpstr>Название презентации</vt:lpstr>
      <vt:lpstr>Название презентации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ы сторилайна</dc:title>
  <dc:creator/>
  <cp:lastModifiedBy>Yocya</cp:lastModifiedBy>
  <cp:revision>7</cp:revision>
  <cp:lastPrinted>2022-09-13T10:21:04Z</cp:lastPrinted>
  <dcterms:created xsi:type="dcterms:W3CDTF">2022-06-10T12:50:33Z</dcterms:created>
  <dcterms:modified xsi:type="dcterms:W3CDTF">2023-03-24T14:5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4E24BA366FC24CA3364A7E6971769C</vt:lpwstr>
  </property>
</Properties>
</file>